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84" r:id="rId1"/>
    <p:sldMasterId id="2147483705" r:id="rId2"/>
  </p:sldMasterIdLst>
  <p:notesMasterIdLst>
    <p:notesMasterId r:id="rId24"/>
  </p:notesMasterIdLst>
  <p:handoutMasterIdLst>
    <p:handoutMasterId r:id="rId25"/>
  </p:handoutMasterIdLst>
  <p:sldIdLst>
    <p:sldId id="579" r:id="rId3"/>
    <p:sldId id="580" r:id="rId4"/>
    <p:sldId id="583" r:id="rId5"/>
    <p:sldId id="584" r:id="rId6"/>
    <p:sldId id="585" r:id="rId7"/>
    <p:sldId id="586" r:id="rId8"/>
    <p:sldId id="588" r:id="rId9"/>
    <p:sldId id="589" r:id="rId10"/>
    <p:sldId id="591" r:id="rId11"/>
    <p:sldId id="592" r:id="rId12"/>
    <p:sldId id="593" r:id="rId13"/>
    <p:sldId id="594" r:id="rId14"/>
    <p:sldId id="595" r:id="rId15"/>
    <p:sldId id="596" r:id="rId16"/>
    <p:sldId id="598" r:id="rId17"/>
    <p:sldId id="599" r:id="rId18"/>
    <p:sldId id="600" r:id="rId19"/>
    <p:sldId id="601" r:id="rId20"/>
    <p:sldId id="604" r:id="rId21"/>
    <p:sldId id="608" r:id="rId22"/>
    <p:sldId id="606" r:id="rId23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52" userDrawn="1">
          <p15:clr>
            <a:srgbClr val="A4A3A4"/>
          </p15:clr>
        </p15:guide>
        <p15:guide id="2" pos="252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3F59"/>
    <a:srgbClr val="1C7CBB"/>
    <a:srgbClr val="1B6893"/>
    <a:srgbClr val="60C5CC"/>
    <a:srgbClr val="49B1CE"/>
    <a:srgbClr val="17335D"/>
    <a:srgbClr val="FFDA07"/>
    <a:srgbClr val="E94244"/>
    <a:srgbClr val="7F7F7F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978" autoAdjust="0"/>
    <p:restoredTop sz="95397" autoAdjust="0"/>
  </p:normalViewPr>
  <p:slideViewPr>
    <p:cSldViewPr>
      <p:cViewPr varScale="1">
        <p:scale>
          <a:sx n="116" d="100"/>
          <a:sy n="116" d="100"/>
        </p:scale>
        <p:origin x="738" y="108"/>
      </p:cViewPr>
      <p:guideLst>
        <p:guide orient="horz" pos="1752"/>
        <p:guide pos="25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6400" cy="498394"/>
          </a:xfrm>
          <a:prstGeom prst="rect">
            <a:avLst/>
          </a:prstGeom>
        </p:spPr>
        <p:txBody>
          <a:bodyPr vert="horz" lIns="91362" tIns="45681" rIns="91362" bIns="4568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96" y="2"/>
            <a:ext cx="2946400" cy="498394"/>
          </a:xfrm>
          <a:prstGeom prst="rect">
            <a:avLst/>
          </a:prstGeom>
        </p:spPr>
        <p:txBody>
          <a:bodyPr vert="horz" lIns="91362" tIns="45681" rIns="91362" bIns="45681" rtlCol="0"/>
          <a:lstStyle>
            <a:lvl1pPr algn="r">
              <a:defRPr sz="1200"/>
            </a:lvl1pPr>
          </a:lstStyle>
          <a:p>
            <a:fld id="{B5AFFC79-93D2-44E3-A895-EBF93EC66562}" type="datetimeFigureOut">
              <a:rPr lang="ru-RU" smtClean="0"/>
              <a:t>01.02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" y="9428244"/>
            <a:ext cx="2946400" cy="498394"/>
          </a:xfrm>
          <a:prstGeom prst="rect">
            <a:avLst/>
          </a:prstGeom>
        </p:spPr>
        <p:txBody>
          <a:bodyPr vert="horz" lIns="91362" tIns="45681" rIns="91362" bIns="4568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96" y="9428244"/>
            <a:ext cx="2946400" cy="498394"/>
          </a:xfrm>
          <a:prstGeom prst="rect">
            <a:avLst/>
          </a:prstGeom>
        </p:spPr>
        <p:txBody>
          <a:bodyPr vert="horz" lIns="91362" tIns="45681" rIns="91362" bIns="45681" rtlCol="0" anchor="b"/>
          <a:lstStyle>
            <a:lvl1pPr algn="r">
              <a:defRPr sz="1200"/>
            </a:lvl1pPr>
          </a:lstStyle>
          <a:p>
            <a:fld id="{60F015D1-A6A6-4EEC-A4C1-02DDAC0C334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23994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2946301" cy="496333"/>
          </a:xfrm>
          <a:prstGeom prst="rect">
            <a:avLst/>
          </a:prstGeom>
        </p:spPr>
        <p:txBody>
          <a:bodyPr vert="horz" lIns="92028" tIns="46013" rIns="92028" bIns="46013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779" y="3"/>
            <a:ext cx="2946301" cy="496333"/>
          </a:xfrm>
          <a:prstGeom prst="rect">
            <a:avLst/>
          </a:prstGeom>
        </p:spPr>
        <p:txBody>
          <a:bodyPr vert="horz" lIns="92028" tIns="46013" rIns="92028" bIns="46013" rtlCol="0"/>
          <a:lstStyle>
            <a:lvl1pPr algn="r">
              <a:defRPr sz="1200"/>
            </a:lvl1pPr>
          </a:lstStyle>
          <a:p>
            <a:fld id="{07A8E96F-DC8B-43B3-B8BB-FC11512E9598}" type="datetimeFigureOut">
              <a:rPr lang="ru-RU" smtClean="0"/>
              <a:t>01.02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6838" y="749300"/>
            <a:ext cx="6604000" cy="37163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028" tIns="46013" rIns="92028" bIns="46013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417" y="4715961"/>
            <a:ext cx="5436856" cy="4466986"/>
          </a:xfrm>
          <a:prstGeom prst="rect">
            <a:avLst/>
          </a:prstGeom>
        </p:spPr>
        <p:txBody>
          <a:bodyPr vert="horz" lIns="92028" tIns="46013" rIns="92028" bIns="46013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428710"/>
            <a:ext cx="2946301" cy="496333"/>
          </a:xfrm>
          <a:prstGeom prst="rect">
            <a:avLst/>
          </a:prstGeom>
        </p:spPr>
        <p:txBody>
          <a:bodyPr vert="horz" lIns="92028" tIns="46013" rIns="92028" bIns="46013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779" y="9428710"/>
            <a:ext cx="2946301" cy="496333"/>
          </a:xfrm>
          <a:prstGeom prst="rect">
            <a:avLst/>
          </a:prstGeom>
        </p:spPr>
        <p:txBody>
          <a:bodyPr vert="horz" lIns="92028" tIns="46013" rIns="92028" bIns="46013" rtlCol="0" anchor="b"/>
          <a:lstStyle>
            <a:lvl1pPr algn="r">
              <a:defRPr sz="1200"/>
            </a:lvl1pPr>
          </a:lstStyle>
          <a:p>
            <a:fld id="{6ECABEF4-A946-4AB0-95B6-B524B39E375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12302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68166D-04ED-4EAB-A425-2F6A7D4951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04130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68166D-04ED-4EAB-A425-2F6A7D4951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55766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68166D-04ED-4EAB-A425-2F6A7D4951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9531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68166D-04ED-4EAB-A425-2F6A7D4951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36901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68166D-04ED-4EAB-A425-2F6A7D4951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24321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68166D-04ED-4EAB-A425-2F6A7D4951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30254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68166D-04ED-4EAB-A425-2F6A7D4951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883137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68166D-04ED-4EAB-A425-2F6A7D4951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95223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68166D-04ED-4EAB-A425-2F6A7D4951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997236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68166D-04ED-4EAB-A425-2F6A7D4951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250159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68166D-04ED-4EAB-A425-2F6A7D4951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22581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68166D-04ED-4EAB-A425-2F6A7D4951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00171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68166D-04ED-4EAB-A425-2F6A7D4951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50622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68166D-04ED-4EAB-A425-2F6A7D4951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79587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68166D-04ED-4EAB-A425-2F6A7D4951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30678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68166D-04ED-4EAB-A425-2F6A7D4951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28761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68166D-04ED-4EAB-A425-2F6A7D4951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26910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68166D-04ED-4EAB-A425-2F6A7D4951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68718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68166D-04ED-4EAB-A425-2F6A7D49516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75132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6BCD9D-E6CD-4CAD-86C2-58DDCFBAB2B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1.02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9CB4D3-38B9-4150-BE3E-2A662391FF1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5734" y="548680"/>
            <a:ext cx="4584700" cy="3524250"/>
          </a:xfrm>
          <a:prstGeom prst="rect">
            <a:avLst/>
          </a:prstGeom>
        </p:spPr>
      </p:pic>
      <p:sp>
        <p:nvSpPr>
          <p:cNvPr id="8" name="Прямоугольник 7"/>
          <p:cNvSpPr/>
          <p:nvPr userDrawn="1"/>
        </p:nvSpPr>
        <p:spPr>
          <a:xfrm>
            <a:off x="1" y="4293096"/>
            <a:ext cx="12199481" cy="1656184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6739310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F65592-F8AB-4336-86E5-14A25CDD5A8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1.02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8976CD-AEBF-4ED0-B195-43EE4101663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42004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2B8E85-CD73-48FC-8BBC-C5563B02C9D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1.02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4B0588-0931-4941-9285-DDF58746080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4821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24BE9F-6CF3-494C-846A-145E6A3F91F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14" descr="C:\Users\Танатар\Desktop\LOGO-sk.png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40000"/>
                    </a14:imgEffect>
                  </a14:imgLayer>
                </a14:imgProps>
              </a:ext>
            </a:extLst>
          </a:blip>
          <a:srcRect l="26201" b="6731"/>
          <a:stretch>
            <a:fillRect/>
          </a:stretch>
        </p:blipFill>
        <p:spPr bwMode="auto">
          <a:xfrm>
            <a:off x="1" y="321180"/>
            <a:ext cx="4725988" cy="6361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945147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24BE9F-6CF3-494C-846A-145E6A3F91F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14" descr="C:\Users\Танатар\Desktop\LOGO-sk.png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40000"/>
                    </a14:imgEffect>
                  </a14:imgLayer>
                </a14:imgProps>
              </a:ext>
            </a:extLst>
          </a:blip>
          <a:srcRect l="26201" b="6731"/>
          <a:stretch>
            <a:fillRect/>
          </a:stretch>
        </p:blipFill>
        <p:spPr bwMode="auto">
          <a:xfrm>
            <a:off x="1" y="321180"/>
            <a:ext cx="4725988" cy="6361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783285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24BE9F-6CF3-494C-846A-145E6A3F91F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14" descr="C:\Users\Танатар\Desktop\LOGO-sk.png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40000"/>
                    </a14:imgEffect>
                  </a14:imgLayer>
                </a14:imgProps>
              </a:ext>
            </a:extLst>
          </a:blip>
          <a:srcRect l="26201" b="6731"/>
          <a:stretch>
            <a:fillRect/>
          </a:stretch>
        </p:blipFill>
        <p:spPr bwMode="auto">
          <a:xfrm>
            <a:off x="1" y="321180"/>
            <a:ext cx="4725988" cy="6361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495637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24BE9F-6CF3-494C-846A-145E6A3F91F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14" descr="C:\Users\Танатар\Desktop\LOGO-sk.png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40000"/>
                    </a14:imgEffect>
                  </a14:imgLayer>
                </a14:imgProps>
              </a:ext>
            </a:extLst>
          </a:blip>
          <a:srcRect l="26201" b="6731"/>
          <a:stretch>
            <a:fillRect/>
          </a:stretch>
        </p:blipFill>
        <p:spPr bwMode="auto">
          <a:xfrm>
            <a:off x="1" y="321180"/>
            <a:ext cx="4725988" cy="6361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32220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24BE9F-6CF3-494C-846A-145E6A3F91F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14" descr="C:\Users\Танатар\Desktop\LOGO-sk.png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40000"/>
                    </a14:imgEffect>
                  </a14:imgLayer>
                </a14:imgProps>
              </a:ext>
            </a:extLst>
          </a:blip>
          <a:srcRect l="26201" b="6731"/>
          <a:stretch>
            <a:fillRect/>
          </a:stretch>
        </p:blipFill>
        <p:spPr bwMode="auto">
          <a:xfrm>
            <a:off x="1" y="321180"/>
            <a:ext cx="4725988" cy="6361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52275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24BE9F-6CF3-494C-846A-145E6A3F91F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14" descr="C:\Users\Танатар\Desktop\LOGO-sk.png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40000"/>
                    </a14:imgEffect>
                  </a14:imgLayer>
                </a14:imgProps>
              </a:ext>
            </a:extLst>
          </a:blip>
          <a:srcRect l="26201" b="6731"/>
          <a:stretch>
            <a:fillRect/>
          </a:stretch>
        </p:blipFill>
        <p:spPr bwMode="auto">
          <a:xfrm>
            <a:off x="1" y="321180"/>
            <a:ext cx="4725988" cy="6361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03719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24BE9F-6CF3-494C-846A-145E6A3F91F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14" descr="C:\Users\Танатар\Desktop\LOGO-sk.png"/>
          <p:cNvPicPr>
            <a:picLocks noChangeAspect="1" noChangeArrowheads="1"/>
          </p:cNvPicPr>
          <p:nvPr userDrawn="1"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40000"/>
                    </a14:imgEffect>
                  </a14:imgLayer>
                </a14:imgProps>
              </a:ext>
            </a:extLst>
          </a:blip>
          <a:srcRect l="26201" b="6731"/>
          <a:stretch>
            <a:fillRect/>
          </a:stretch>
        </p:blipFill>
        <p:spPr bwMode="auto">
          <a:xfrm>
            <a:off x="1" y="321180"/>
            <a:ext cx="4725988" cy="6361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88433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Рисунок 237"/>
          <p:cNvPicPr/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6107" y="511351"/>
            <a:ext cx="1954635" cy="238026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600495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0" y="1"/>
            <a:ext cx="12192000" cy="89455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7381" y="157708"/>
            <a:ext cx="10177131" cy="620688"/>
          </a:xfrm>
        </p:spPr>
        <p:txBody>
          <a:bodyPr/>
          <a:lstStyle>
            <a:lvl1pPr algn="l">
              <a:defRPr sz="2400" b="1">
                <a:solidFill>
                  <a:schemeClr val="bg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27381" y="1124745"/>
            <a:ext cx="11233248" cy="5001419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251BD7-DC92-4E17-92ED-AA6F9D85AED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1.02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8AEAFF-E3CE-4EB6-8534-B22E93D86CC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3" descr="C:\Users\ww\Desktop\NURGUL\КИРИ\СК\работа\whit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31893" y="34331"/>
            <a:ext cx="780481" cy="790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10359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265265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834" y="162000"/>
            <a:ext cx="11336334" cy="831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7834" y="1508760"/>
            <a:ext cx="11336334" cy="4590288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04552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7834" y="162000"/>
            <a:ext cx="11336334" cy="831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93313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312407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8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Рисунок 237"/>
          <p:cNvPicPr/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6107" y="511351"/>
            <a:ext cx="1954635" cy="238026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904165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3" name="Слайд think-cell" r:id="rId5" imgW="216" imgH="216" progId="TCLayout.ActiveDocument.1">
                  <p:embed/>
                </p:oleObj>
              </mc:Choice>
              <mc:Fallback>
                <p:oleObj name="Слайд think-cell" r:id="rId5" imgW="216" imgH="21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6" name="Прямоугольник 75"/>
          <p:cNvSpPr/>
          <p:nvPr userDrawn="1"/>
        </p:nvSpPr>
        <p:spPr>
          <a:xfrm>
            <a:off x="0" y="288032"/>
            <a:ext cx="12192000" cy="548680"/>
          </a:xfrm>
          <a:prstGeom prst="rect">
            <a:avLst/>
          </a:prstGeom>
          <a:solidFill>
            <a:srgbClr val="17335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2899" tIns="46454" rIns="92899" bIns="46454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2F559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20650" y="319519"/>
            <a:ext cx="723900" cy="483285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3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91410" y="299551"/>
            <a:ext cx="78258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BE8BE8-188A-409B-8858-F303FB7150CC}" type="slidenum">
              <a:rPr kumimoji="0" lang="ru-RU" sz="28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1712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100FD0-CF54-4C6C-A535-EF26E8BD6EA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1.02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A955E0-4771-4727-B591-9A91F7649E8D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07870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0B350B-0A92-4165-B34F-47F43978816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1.02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283FC5-1DE6-4400-9A12-2E0533FA0EB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5727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54E30A-83A7-4E1A-9D7C-B869878DD1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1.02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5D8115-79B2-42D9-87BE-3A4099C31F2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20764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58278A-3F04-43F8-9E47-2A6725702FE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1.02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4AF5C1-B192-4672-957C-C96F485AE12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14469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9210DB-37F3-49DD-88AC-947BDD20466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1.02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6ED57D-775E-4D3B-A12D-46AE7E5EB88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06281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5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F2100D-436C-4FE3-8EF7-7390104ABAE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1.02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2771F2-ADD2-4D1B-BB5F-CB532422D4E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15632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171843-3C55-4D75-A477-487425F1F89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1.02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8067BC-EADF-4208-B8A0-5D956C7F5C4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13679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3" Type="http://schemas.openxmlformats.org/officeDocument/2006/relationships/slideLayout" Target="../slideLayouts/slideLayout22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24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23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8437C7B9-C472-4C3C-B472-0DE00D096EE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1.02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1B087F37-328D-492C-89E4-88C2D9C7E71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14" descr="C:\Users\Танатар\Desktop\LOGO-sk.png"/>
          <p:cNvPicPr>
            <a:picLocks noChangeAspect="1" noChangeArrowheads="1"/>
          </p:cNvPicPr>
          <p:nvPr userDrawn="1"/>
        </p:nvPicPr>
        <p:blipFill>
          <a:blip r:embed="rId21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26201" b="6731"/>
          <a:stretch>
            <a:fillRect/>
          </a:stretch>
        </p:blipFill>
        <p:spPr bwMode="auto">
          <a:xfrm>
            <a:off x="0" y="496888"/>
            <a:ext cx="6301317" cy="6361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65275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4" r:id="rId19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954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9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5978769" y="6674400"/>
            <a:ext cx="234462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PT Sans" pitchFamily="34" charset="-5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PT Sans" pitchFamily="34" charset="-5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8267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002673"/>
          </a:solidFill>
          <a:latin typeface="+mj-lt"/>
          <a:ea typeface="PT Sans" pitchFamily="34" charset="-52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Clr>
          <a:srgbClr val="004990"/>
        </a:buClr>
        <a:buFontTx/>
        <a:buNone/>
        <a:defRPr sz="1600" b="1" kern="1200">
          <a:solidFill>
            <a:schemeClr val="tx1"/>
          </a:solidFill>
          <a:latin typeface="+mn-lt"/>
          <a:ea typeface="PT Sans" pitchFamily="34" charset="-52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rgbClr val="004990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PT Sans" pitchFamily="34" charset="-52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rgbClr val="00499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PT Sans" pitchFamily="34" charset="-52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rgbClr val="00499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PT Sans" pitchFamily="34" charset="-52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rgbClr val="004990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PT Sans" pitchFamily="34" charset="-5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8.png"/><Relationship Id="rId3" Type="http://schemas.openxmlformats.org/officeDocument/2006/relationships/image" Target="../media/image14.png"/><Relationship Id="rId12" Type="http://schemas.openxmlformats.org/officeDocument/2006/relationships/image" Target="../media/image1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5.xml"/><Relationship Id="rId11" Type="http://schemas.openxmlformats.org/officeDocument/2006/relationships/image" Target="../media/image16.png"/><Relationship Id="rId6" Type="http://schemas.openxmlformats.org/officeDocument/2006/relationships/image" Target="../media/image4.svg"/><Relationship Id="rId5" Type="http://schemas.openxmlformats.org/officeDocument/2006/relationships/image" Target="../media/image15.png"/><Relationship Id="rId10" Type="http://schemas.openxmlformats.org/officeDocument/2006/relationships/image" Target="../media/image8.svg"/><Relationship Id="rId4" Type="http://schemas.openxmlformats.org/officeDocument/2006/relationships/image" Target="../media/image2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zakup.sk.kz/#/ext/regulation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5.xml"/><Relationship Id="rId5" Type="http://schemas.openxmlformats.org/officeDocument/2006/relationships/hyperlink" Target="https://youtu.be/kWcLZtk4FRg" TargetMode="External"/><Relationship Id="rId4" Type="http://schemas.openxmlformats.org/officeDocument/2006/relationships/hyperlink" Target="https://www.skc.kz/activity/pko/pko-2-0-categories/" TargetMode="Externa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10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4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2.svg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6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ubtitle 3"/>
          <p:cNvSpPr txBox="1">
            <a:spLocks/>
          </p:cNvSpPr>
          <p:nvPr/>
        </p:nvSpPr>
        <p:spPr bwMode="white">
          <a:xfrm>
            <a:off x="407368" y="3717032"/>
            <a:ext cx="11436851" cy="2610339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2800" b="1" kern="1200" dirty="0" smtClean="0">
                <a:solidFill>
                  <a:srgbClr val="9E8665"/>
                </a:solidFill>
                <a:latin typeface="+mj-lt"/>
                <a:ea typeface="PT Sans" pitchFamily="34" charset="-52"/>
                <a:cs typeface="Arial" pitchFamily="34" charset="0"/>
                <a:sym typeface="Trebuchet MS" panose="020B0603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None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None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None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ru-RU" sz="36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36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ru-RU" sz="36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мұрық-Қазына</a:t>
            </a:r>
            <a:r>
              <a:rPr lang="ru-RU" sz="36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Контракт» </a:t>
            </a:r>
            <a:r>
              <a:rPr lang="ru-RU" sz="36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ШС</a:t>
            </a:r>
            <a:endParaRPr lang="en-US" sz="3600" dirty="0" smtClean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ru-RU" sz="3600" dirty="0" smtClean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b="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r>
              <a:rPr lang="en-US" b="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</a:t>
            </a:r>
            <a:r>
              <a:rPr lang="ru-RU" b="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0</a:t>
            </a:r>
            <a:r>
              <a:rPr lang="en-US" b="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</a:t>
            </a:r>
            <a:r>
              <a:rPr lang="ru-RU" b="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2022</a:t>
            </a:r>
            <a:endParaRPr lang="ru-RU" sz="3600" b="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4318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Прямоугольник 100"/>
          <p:cNvSpPr/>
          <p:nvPr/>
        </p:nvSpPr>
        <p:spPr>
          <a:xfrm>
            <a:off x="9094936" y="4981574"/>
            <a:ext cx="2844000" cy="1800449"/>
          </a:xfrm>
          <a:prstGeom prst="rect">
            <a:avLst/>
          </a:prstGeom>
          <a:solidFill>
            <a:srgbClr val="1B689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" name="Прямоугольник 102"/>
          <p:cNvSpPr/>
          <p:nvPr/>
        </p:nvSpPr>
        <p:spPr>
          <a:xfrm>
            <a:off x="9102950" y="4941686"/>
            <a:ext cx="2835986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5600"/>
            <a:r>
              <a:rPr lang="ru-RU" sz="13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С ТРУ </a:t>
            </a:r>
            <a:r>
              <a:rPr lang="ru-RU" sz="13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дының</a:t>
            </a:r>
            <a:r>
              <a:rPr lang="ru-RU" sz="13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тауы</a:t>
            </a:r>
            <a:r>
              <a:rPr lang="ru-RU" sz="13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тификаттағы</a:t>
            </a:r>
            <a:r>
              <a:rPr lang="ru-RU" sz="13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уар</a:t>
            </a:r>
            <a:endParaRPr lang="ru-RU" sz="13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033885" y="318955"/>
            <a:ext cx="1103877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kk-KZ" sz="24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НДІРІЛЕТІН ТАУАРЛАР ТУРАЛЫ МӘЛІМЕТТЕР </a:t>
            </a:r>
            <a:r>
              <a:rPr lang="kk-KZ" sz="2400" b="1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ҰСЫНУ</a:t>
            </a:r>
            <a:endParaRPr lang="kk-KZ" sz="240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52" name="Таблица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514114"/>
              </p:ext>
            </p:extLst>
          </p:nvPr>
        </p:nvGraphicFramePr>
        <p:xfrm>
          <a:off x="119336" y="856336"/>
          <a:ext cx="11953328" cy="2609779"/>
        </p:xfrm>
        <a:graphic>
          <a:graphicData uri="http://schemas.openxmlformats.org/drawingml/2006/table">
            <a:tbl>
              <a:tblPr firstRow="1" bandRow="1"/>
              <a:tblGrid>
                <a:gridCol w="104283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1334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515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56196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66504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76130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691299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717338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1584176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</a:tblGrid>
              <a:tr h="9249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000" dirty="0" err="1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Наименова-ние</a:t>
                      </a:r>
                      <a:r>
                        <a:rPr lang="ru-RU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товара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E1E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rgbClr val="C0000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д ЕНС ТРУ</a:t>
                      </a:r>
                    </a:p>
                    <a:p>
                      <a:pPr marL="0" algn="ctr" defTabSz="914400" rtl="0" eaLnBrk="1" latinLnBrk="0" hangingPunct="1"/>
                      <a:endParaRPr lang="ru-RU" sz="1000" b="1" kern="1200" dirty="0" smtClean="0">
                        <a:solidFill>
                          <a:srgbClr val="C0000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rgbClr val="C0000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раткая характеристика</a:t>
                      </a:r>
                      <a:endParaRPr lang="ru-RU" sz="1000" b="1" kern="1200" dirty="0">
                        <a:solidFill>
                          <a:srgbClr val="C0000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ласть (отрасль) применения товара</a:t>
                      </a:r>
                      <a:endParaRPr lang="ru-RU" sz="1000" b="1" kern="1200" dirty="0">
                        <a:solidFill>
                          <a:schemeClr val="bg2">
                            <a:lumMod val="50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E1E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Ед. </a:t>
                      </a:r>
                      <a:r>
                        <a:rPr lang="ru-RU" sz="1000" b="1" kern="1200" baseline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змерения</a:t>
                      </a:r>
                      <a:endParaRPr lang="ru-RU" sz="1000" b="1" kern="1200" dirty="0">
                        <a:solidFill>
                          <a:schemeClr val="bg2">
                            <a:lumMod val="50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E1E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Цена за ед.</a:t>
                      </a:r>
                      <a:endParaRPr lang="ru-RU" sz="1000" b="1" kern="1200" dirty="0">
                        <a:solidFill>
                          <a:schemeClr val="bg2">
                            <a:lumMod val="50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E1E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1" kern="1200" dirty="0" err="1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оясне-ние</a:t>
                      </a:r>
                      <a:r>
                        <a:rPr lang="ru-RU" sz="1000" b="1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к цене товара</a:t>
                      </a:r>
                      <a:endParaRPr lang="ru-RU" sz="1000" b="1" kern="1200" dirty="0">
                        <a:solidFill>
                          <a:schemeClr val="bg2">
                            <a:lumMod val="50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E1E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rgbClr val="C0000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МС, %</a:t>
                      </a:r>
                      <a:endParaRPr lang="ru-RU" sz="1000" b="1" kern="1200" dirty="0">
                        <a:solidFill>
                          <a:srgbClr val="C0000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1" kern="1200" dirty="0" err="1" smtClean="0">
                          <a:solidFill>
                            <a:srgbClr val="C0000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ерти-фикат</a:t>
                      </a:r>
                      <a:r>
                        <a:rPr lang="ru-RU" sz="1000" b="1" kern="1200" dirty="0" smtClean="0">
                          <a:solidFill>
                            <a:srgbClr val="C0000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товара</a:t>
                      </a:r>
                      <a:endParaRPr lang="ru-RU" sz="1000" b="1" kern="1200" dirty="0">
                        <a:solidFill>
                          <a:srgbClr val="C0000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rgbClr val="C0000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Наименование по сертификату</a:t>
                      </a:r>
                      <a:endParaRPr lang="ru-RU" sz="1000" b="1" kern="1200" dirty="0">
                        <a:solidFill>
                          <a:srgbClr val="C0000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rgbClr val="C0000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ата выдачи </a:t>
                      </a:r>
                      <a:r>
                        <a:rPr lang="ru-RU" sz="1000" b="1" kern="1200" dirty="0" err="1" smtClean="0">
                          <a:solidFill>
                            <a:srgbClr val="C0000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ерти-фиката</a:t>
                      </a:r>
                      <a:endParaRPr lang="ru-RU" sz="1000" b="1" kern="1200" dirty="0">
                        <a:solidFill>
                          <a:srgbClr val="C0000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Условия поставки по </a:t>
                      </a:r>
                      <a:r>
                        <a:rPr lang="ru-RU" sz="1000" b="1" kern="1200" dirty="0" err="1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нкотермс</a:t>
                      </a:r>
                      <a:r>
                        <a:rPr lang="ru-RU" sz="1000" b="1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2010</a:t>
                      </a:r>
                      <a:endParaRPr lang="ru-RU" sz="1000" b="1" kern="1200" dirty="0">
                        <a:solidFill>
                          <a:schemeClr val="bg2">
                            <a:lumMod val="50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E1E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роизводственная мощность в год</a:t>
                      </a:r>
                      <a:endParaRPr lang="ru-RU" sz="1000" b="1" kern="1200" dirty="0">
                        <a:solidFill>
                          <a:schemeClr val="bg2">
                            <a:lumMod val="50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E1E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бъем тары </a:t>
                      </a:r>
                      <a:r>
                        <a:rPr lang="ru-RU" sz="1000" b="1" kern="1200" dirty="0" err="1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ипо</a:t>
                      </a:r>
                      <a:r>
                        <a:rPr lang="ru-RU" sz="1000" b="1" kern="12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-размер</a:t>
                      </a:r>
                      <a:r>
                        <a:rPr lang="ru-RU" sz="1000" b="1" kern="1200" baseline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товара, вес</a:t>
                      </a:r>
                      <a:endParaRPr lang="ru-RU" sz="1000" b="1" kern="1200" dirty="0">
                        <a:solidFill>
                          <a:schemeClr val="bg2">
                            <a:lumMod val="50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E1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598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Вал	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solidFill>
                            <a:srgbClr val="C0000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81331.000.000094</a:t>
                      </a:r>
                      <a:endParaRPr lang="ru-RU" sz="1000" dirty="0">
                        <a:solidFill>
                          <a:srgbClr val="C0000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000" dirty="0" smtClean="0">
                          <a:solidFill>
                            <a:srgbClr val="C0000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ля жидкостного насоса, кривошипный</a:t>
                      </a:r>
                      <a:endParaRPr lang="ru-RU" sz="1000" dirty="0">
                        <a:solidFill>
                          <a:srgbClr val="C0000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таль для насоса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39	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 500 000</a:t>
                      </a:r>
                    </a:p>
                    <a:p>
                      <a:pPr algn="ctr"/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Цена с учетом рентабельности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solidFill>
                            <a:srgbClr val="C0000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8.48</a:t>
                      </a:r>
                      <a:endParaRPr lang="ru-RU" sz="1000" dirty="0">
                        <a:solidFill>
                          <a:srgbClr val="C0000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solidFill>
                            <a:srgbClr val="C0000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0533</a:t>
                      </a:r>
                      <a:endParaRPr lang="ru-RU" sz="1000" dirty="0">
                        <a:solidFill>
                          <a:srgbClr val="C0000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000" dirty="0" smtClean="0">
                          <a:solidFill>
                            <a:srgbClr val="C0000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Вал, для жидкостного насоса, кривошипный</a:t>
                      </a:r>
                      <a:endParaRPr lang="ru-RU" sz="1000" dirty="0">
                        <a:solidFill>
                          <a:srgbClr val="C0000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solidFill>
                            <a:srgbClr val="C0000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7-10-2020</a:t>
                      </a:r>
                      <a:endParaRPr lang="ru-RU" sz="1000" dirty="0">
                        <a:solidFill>
                          <a:srgbClr val="C0000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DP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0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0,0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92498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fontAlgn="t"/>
                      <a:r>
                        <a:rPr lang="ru-RU" sz="10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стюм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t"/>
                      <a:r>
                        <a:rPr lang="ru-RU" sz="1000" dirty="0">
                          <a:solidFill>
                            <a:srgbClr val="C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41221.290.000003</a:t>
                      </a: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fontAlgn="t"/>
                      <a:r>
                        <a:rPr lang="ru-RU" sz="1000" dirty="0">
                          <a:solidFill>
                            <a:srgbClr val="C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енский, для защиты от кислот, из ткани</a:t>
                      </a: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fontAlgn="t"/>
                      <a:r>
                        <a:rPr lang="ru-RU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ромышленность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t"/>
                      <a:r>
                        <a:rPr lang="ru-RU" sz="10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39</a:t>
                      </a: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t"/>
                      <a:r>
                        <a:rPr lang="ru-RU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000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fontAlgn="t"/>
                      <a:r>
                        <a:rPr lang="ru-RU" sz="1000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Цена включает в себя все расходы</a:t>
                      </a: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solidFill>
                            <a:srgbClr val="C0000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0	</a:t>
                      </a:r>
                      <a:endParaRPr lang="ru-RU" sz="1000" dirty="0">
                        <a:solidFill>
                          <a:srgbClr val="C0000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solidFill>
                            <a:srgbClr val="C0000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0175</a:t>
                      </a: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ru-RU" sz="1000" dirty="0" smtClean="0">
                          <a:solidFill>
                            <a:srgbClr val="C0000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дежда специальная для защиты от воздействий растворов кислот: комплект женский - 1 категория</a:t>
                      </a:r>
                      <a:endParaRPr lang="ru-RU" sz="1000" dirty="0">
                        <a:solidFill>
                          <a:srgbClr val="C0000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ru-RU" sz="1000" dirty="0" smtClean="0">
                          <a:solidFill>
                            <a:srgbClr val="C00000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-02-2021</a:t>
                      </a:r>
                      <a:endParaRPr lang="ru-RU" sz="1000" dirty="0">
                        <a:solidFill>
                          <a:srgbClr val="C00000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DP	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0000	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  <a:endParaRPr lang="ru-RU" sz="1000" dirty="0">
                        <a:solidFill>
                          <a:schemeClr val="bg2">
                            <a:lumMod val="50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9094936" y="3935631"/>
            <a:ext cx="2844000" cy="978548"/>
          </a:xfrm>
          <a:prstGeom prst="rect">
            <a:avLst/>
          </a:prstGeom>
          <a:solidFill>
            <a:srgbClr val="1B689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276440" y="4981574"/>
            <a:ext cx="2844000" cy="1800449"/>
          </a:xfrm>
          <a:prstGeom prst="rect">
            <a:avLst/>
          </a:prstGeom>
          <a:solidFill>
            <a:srgbClr val="1B689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3216192" y="4981574"/>
            <a:ext cx="2844000" cy="1800449"/>
          </a:xfrm>
          <a:prstGeom prst="rect">
            <a:avLst/>
          </a:prstGeom>
          <a:solidFill>
            <a:srgbClr val="1B689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6155944" y="4981574"/>
            <a:ext cx="2844000" cy="1800449"/>
          </a:xfrm>
          <a:prstGeom prst="rect">
            <a:avLst/>
          </a:prstGeom>
          <a:solidFill>
            <a:srgbClr val="1B689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275680" y="3935631"/>
            <a:ext cx="2844000" cy="978548"/>
          </a:xfrm>
          <a:prstGeom prst="rect">
            <a:avLst/>
          </a:prstGeom>
          <a:solidFill>
            <a:srgbClr val="1B689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3215432" y="3935631"/>
            <a:ext cx="2844000" cy="978548"/>
          </a:xfrm>
          <a:prstGeom prst="rect">
            <a:avLst/>
          </a:prstGeom>
          <a:solidFill>
            <a:srgbClr val="1B689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6155184" y="3935631"/>
            <a:ext cx="2844000" cy="978548"/>
          </a:xfrm>
          <a:prstGeom prst="rect">
            <a:avLst/>
          </a:prstGeom>
          <a:solidFill>
            <a:srgbClr val="1B689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275680" y="3892281"/>
            <a:ext cx="41389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  <a:endParaRPr lang="ru-RU" sz="28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3223446" y="3892281"/>
            <a:ext cx="41389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8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endParaRPr lang="ru-RU" sz="28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6163199" y="3892281"/>
            <a:ext cx="41389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endParaRPr lang="ru-RU" sz="28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276440" y="4950693"/>
            <a:ext cx="41389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</a:t>
            </a:r>
            <a:endParaRPr lang="ru-RU" sz="28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3224207" y="4950693"/>
            <a:ext cx="41389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</a:t>
            </a:r>
            <a:endParaRPr lang="ru-RU" sz="28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6163959" y="4950693"/>
            <a:ext cx="41389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</a:t>
            </a:r>
            <a:endParaRPr lang="ru-RU" sz="28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9102951" y="3904749"/>
            <a:ext cx="41389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</a:t>
            </a:r>
            <a:endParaRPr lang="ru-RU" sz="28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4756810" y="3394039"/>
            <a:ext cx="2672069" cy="584775"/>
            <a:chOff x="4309366" y="3394039"/>
            <a:chExt cx="2672069" cy="584775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4309366" y="3526296"/>
              <a:ext cx="2434706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kk-KZ" sz="1600" b="1" dirty="0" smtClean="0">
                  <a:solidFill>
                    <a:schemeClr val="bg2">
                      <a:lumMod val="5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НАЗАР АУДАРЫҢЫЗ</a:t>
              </a:r>
              <a:endParaRPr lang="ru-RU" sz="1600" b="1" dirty="0"/>
            </a:p>
          </p:txBody>
        </p:sp>
        <p:sp>
          <p:nvSpPr>
            <p:cNvPr id="75" name="Прямоугольник 74"/>
            <p:cNvSpPr/>
            <p:nvPr/>
          </p:nvSpPr>
          <p:spPr>
            <a:xfrm>
              <a:off x="6479803" y="3394039"/>
              <a:ext cx="501632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kk-KZ" sz="3200" b="1" dirty="0" smtClean="0">
                  <a:solidFill>
                    <a:srgbClr val="C00000"/>
                  </a:solidFill>
                  <a:latin typeface="Arial" panose="020B0604020202020204" pitchFamily="34" charset="0"/>
                  <a:ea typeface="Tahoma" panose="020B0604030504040204" pitchFamily="34" charset="0"/>
                  <a:cs typeface="Arial" panose="020B0604020202020204" pitchFamily="34" charset="0"/>
                </a:rPr>
                <a:t>!</a:t>
              </a:r>
              <a:endParaRPr lang="ru-RU" sz="32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" name="Прямоугольник 9"/>
          <p:cNvSpPr/>
          <p:nvPr/>
        </p:nvSpPr>
        <p:spPr>
          <a:xfrm>
            <a:off x="275680" y="3916736"/>
            <a:ext cx="28440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/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С ТРУ коды </a:t>
            </a:r>
            <a:r>
              <a:rPr lang="ru-RU" sz="14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зекті</a:t>
            </a:r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уы</a:t>
            </a:r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иіс</a:t>
            </a:r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en-US" sz="14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stru.kz </a:t>
            </a:r>
            <a:r>
              <a:rPr lang="kk-KZ" sz="14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рталында тексеру қажет</a:t>
            </a:r>
            <a:r>
              <a:rPr lang="ru-RU" sz="14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3617045" y="3901288"/>
            <a:ext cx="244238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С ТРУ </a:t>
            </a:r>
            <a:r>
              <a:rPr lang="ru-RU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дының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ипаттамаларын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згертуге</a:t>
            </a:r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ыйым</a:t>
            </a:r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лынады</a:t>
            </a:r>
            <a:endParaRPr lang="ru-RU" sz="1400" b="1" i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6577094" y="3923852"/>
            <a:ext cx="242209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ргілікті </a:t>
            </a:r>
            <a:r>
              <a:rPr lang="ru-RU" sz="14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мтудың</a:t>
            </a:r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лесі</a:t>
            </a:r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-</a:t>
            </a:r>
            <a:r>
              <a:rPr lang="en-US" sz="14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Z</a:t>
            </a:r>
            <a:endParaRPr lang="ru-RU" sz="1400" b="1" i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275185" y="5147425"/>
            <a:ext cx="284525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5600"/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ндірілетін </a:t>
            </a:r>
            <a:r>
              <a:rPr lang="ru-RU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уарлар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уралы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әліметтердегі</a:t>
            </a:r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тификат </a:t>
            </a:r>
            <a:r>
              <a:rPr lang="ru-RU" sz="14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өмірі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інімге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са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рілетін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тификат </a:t>
            </a:r>
            <a:r>
              <a:rPr lang="ru-RU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өмірімен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әйкес</a:t>
            </a:r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луі</a:t>
            </a:r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иіс</a:t>
            </a:r>
            <a:endParaRPr lang="ru-RU" sz="14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6" name="Прямоугольник 85"/>
          <p:cNvSpPr/>
          <p:nvPr/>
        </p:nvSpPr>
        <p:spPr>
          <a:xfrm>
            <a:off x="6163197" y="5409035"/>
            <a:ext cx="283674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інімдегі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тификаттың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рілген</a:t>
            </a:r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үні</a:t>
            </a:r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са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рілген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тификаттың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үнімен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әйкес</a:t>
            </a:r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луі</a:t>
            </a:r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иіс</a:t>
            </a:r>
            <a:endParaRPr lang="ru-RU" sz="1400" b="1" i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7" name="Прямоугольник 86"/>
          <p:cNvSpPr/>
          <p:nvPr/>
        </p:nvSpPr>
        <p:spPr>
          <a:xfrm>
            <a:off x="9516845" y="3920973"/>
            <a:ext cx="242334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дустриялық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сертификат </a:t>
            </a:r>
            <a:r>
              <a:rPr lang="ru-RU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йынша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жамды</a:t>
            </a:r>
            <a:endParaRPr lang="ru-RU" sz="1400" i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8" name="Прямоугольник 87"/>
          <p:cNvSpPr/>
          <p:nvPr/>
        </p:nvSpPr>
        <p:spPr>
          <a:xfrm>
            <a:off x="3223840" y="5147425"/>
            <a:ext cx="283598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5600"/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тификаттағы </a:t>
            </a:r>
            <a:r>
              <a:rPr lang="ru-RU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уардың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тауы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kk-KZ" sz="14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інімдегі </a:t>
            </a:r>
            <a:r>
              <a:rPr lang="ru-RU" sz="14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С ТРУ 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дымен </a:t>
            </a:r>
            <a:r>
              <a:rPr lang="ru-RU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қсаты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/ </a:t>
            </a:r>
            <a:r>
              <a:rPr lang="ru-RU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ипаттамалары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/ </a:t>
            </a:r>
            <a:r>
              <a:rPr lang="ru-RU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лдану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ласы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/ </a:t>
            </a:r>
            <a:r>
              <a:rPr lang="ru-RU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айындау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атериалы </a:t>
            </a:r>
            <a:r>
              <a:rPr lang="ru-RU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йынша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әйкес</a:t>
            </a:r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луі</a:t>
            </a:r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иіс</a:t>
            </a:r>
            <a:endParaRPr lang="ru-RU" sz="14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2" name="Прямоугольник 101"/>
          <p:cNvSpPr/>
          <p:nvPr/>
        </p:nvSpPr>
        <p:spPr>
          <a:xfrm>
            <a:off x="9102951" y="4950693"/>
            <a:ext cx="41389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</a:t>
            </a:r>
            <a:endParaRPr lang="ru-RU" sz="28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4" name="Прямоугольник 103"/>
          <p:cNvSpPr/>
          <p:nvPr/>
        </p:nvSpPr>
        <p:spPr>
          <a:xfrm>
            <a:off x="9102950" y="5332740"/>
            <a:ext cx="2835985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тауымен</a:t>
            </a:r>
            <a:r>
              <a:rPr lang="ru-RU" sz="13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әйкес</a:t>
            </a:r>
            <a:r>
              <a:rPr lang="ru-RU" sz="13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лмеген</a:t>
            </a:r>
            <a:r>
              <a:rPr lang="ru-RU" sz="13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ғдайда</a:t>
            </a:r>
            <a:r>
              <a:rPr lang="ru-RU" sz="13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тайтын</a:t>
            </a:r>
            <a:r>
              <a:rPr lang="ru-RU" sz="13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жаттарды</a:t>
            </a:r>
            <a:r>
              <a:rPr lang="ru-RU" sz="13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са</a:t>
            </a:r>
            <a:r>
              <a:rPr lang="ru-RU" sz="13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беру </a:t>
            </a:r>
            <a:r>
              <a:rPr lang="ru-RU" sz="1300" b="1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жет</a:t>
            </a:r>
            <a:r>
              <a:rPr lang="ru-RU" sz="13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r>
              <a:rPr lang="ru-RU" sz="13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ндірілетін </a:t>
            </a:r>
            <a:r>
              <a:rPr lang="ru-RU" sz="13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уарға</a:t>
            </a:r>
            <a:r>
              <a:rPr lang="ru-RU" sz="13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ЕНС ТРУ коды </a:t>
            </a:r>
            <a:r>
              <a:rPr lang="ru-RU" sz="13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маған</a:t>
            </a:r>
            <a:r>
              <a:rPr lang="ru-RU" sz="13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ғдайда</a:t>
            </a:r>
            <a:r>
              <a:rPr lang="ru-RU" sz="13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3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stru.kz</a:t>
            </a:r>
            <a:r>
              <a:rPr lang="ru-RU" sz="13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рталында</a:t>
            </a:r>
            <a:r>
              <a:rPr lang="ru-RU" sz="13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ңа</a:t>
            </a:r>
            <a:r>
              <a:rPr lang="ru-RU" sz="13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д </a:t>
            </a:r>
            <a:r>
              <a:rPr lang="ru-RU" sz="13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сауға</a:t>
            </a:r>
            <a:r>
              <a:rPr lang="ru-RU" sz="13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3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інім</a:t>
            </a:r>
            <a:r>
              <a:rPr lang="ru-RU" sz="13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беру </a:t>
            </a:r>
            <a:r>
              <a:rPr lang="ru-RU" sz="1300" b="1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жет</a:t>
            </a:r>
            <a:endParaRPr lang="ru-RU" sz="13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155183" y="4343656"/>
            <a:ext cx="284400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тификатындағы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ректермен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әйкес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луі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иіс</a:t>
            </a:r>
            <a:endParaRPr lang="ru-RU" sz="1400" b="1" i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9094936" y="4344372"/>
            <a:ext cx="284399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МС </a:t>
            </a:r>
            <a:r>
              <a:rPr lang="ru-RU" sz="14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лесін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рсетуге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ады</a:t>
            </a:r>
            <a:endParaRPr lang="ru-RU" sz="1400" i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5" name="Шеврон 104"/>
          <p:cNvSpPr/>
          <p:nvPr/>
        </p:nvSpPr>
        <p:spPr>
          <a:xfrm>
            <a:off x="3082080" y="43570"/>
            <a:ext cx="3024000" cy="180000"/>
          </a:xfrm>
          <a:prstGeom prst="chevron">
            <a:avLst>
              <a:gd name="adj" fmla="val 46736"/>
            </a:avLst>
          </a:prstGeom>
          <a:solidFill>
            <a:srgbClr val="17335D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РЕЕСТРЛЕР (ТПФ/ОИН)</a:t>
            </a:r>
          </a:p>
        </p:txBody>
      </p:sp>
      <p:sp>
        <p:nvSpPr>
          <p:cNvPr id="106" name="Шеврон 105"/>
          <p:cNvSpPr/>
          <p:nvPr/>
        </p:nvSpPr>
        <p:spPr>
          <a:xfrm>
            <a:off x="6090212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. ПКО</a:t>
            </a:r>
          </a:p>
        </p:txBody>
      </p:sp>
      <p:sp>
        <p:nvSpPr>
          <p:cNvPr id="107" name="Шеврон 106"/>
          <p:cNvSpPr/>
          <p:nvPr/>
        </p:nvSpPr>
        <p:spPr>
          <a:xfrm>
            <a:off x="9095936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. ЕНС ТРУ</a:t>
            </a:r>
          </a:p>
        </p:txBody>
      </p:sp>
      <p:sp>
        <p:nvSpPr>
          <p:cNvPr id="108" name="Пятиугольник 107"/>
          <p:cNvSpPr/>
          <p:nvPr/>
        </p:nvSpPr>
        <p:spPr>
          <a:xfrm>
            <a:off x="76356" y="47575"/>
            <a:ext cx="3024000" cy="18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kk-KZ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</a:t>
            </a:r>
            <a:r>
              <a:rPr lang="ru-RU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ФТЕЙК-КЕЛІСІМШАРТТАР</a:t>
            </a:r>
            <a:endParaRPr lang="ru-RU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9829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033885" y="346455"/>
            <a:ext cx="11038779" cy="4078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kk-KZ" sz="2050" b="1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ДЫН АЛА БІЛІКТІЛІК ІРІКТЕУ (ПКО)</a:t>
            </a:r>
            <a:endParaRPr lang="kk-KZ" sz="205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2" name="Шеврон 91"/>
          <p:cNvSpPr/>
          <p:nvPr/>
        </p:nvSpPr>
        <p:spPr>
          <a:xfrm>
            <a:off x="3082080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РЕЕСТРЛЕР (ТПФ/ОИН)</a:t>
            </a:r>
          </a:p>
        </p:txBody>
      </p:sp>
      <p:sp>
        <p:nvSpPr>
          <p:cNvPr id="93" name="Шеврон 92"/>
          <p:cNvSpPr/>
          <p:nvPr/>
        </p:nvSpPr>
        <p:spPr>
          <a:xfrm>
            <a:off x="6090212" y="43570"/>
            <a:ext cx="3024000" cy="180000"/>
          </a:xfrm>
          <a:prstGeom prst="chevron">
            <a:avLst>
              <a:gd name="adj" fmla="val 46736"/>
            </a:avLst>
          </a:prstGeom>
          <a:solidFill>
            <a:srgbClr val="17335D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. ПКО</a:t>
            </a:r>
          </a:p>
        </p:txBody>
      </p:sp>
      <p:sp>
        <p:nvSpPr>
          <p:cNvPr id="94" name="Шеврон 93"/>
          <p:cNvSpPr/>
          <p:nvPr/>
        </p:nvSpPr>
        <p:spPr>
          <a:xfrm>
            <a:off x="9095936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. ЕНС ТРУ</a:t>
            </a:r>
          </a:p>
        </p:txBody>
      </p:sp>
      <p:sp>
        <p:nvSpPr>
          <p:cNvPr id="95" name="Пятиугольник 94"/>
          <p:cNvSpPr/>
          <p:nvPr/>
        </p:nvSpPr>
        <p:spPr>
          <a:xfrm>
            <a:off x="76356" y="47575"/>
            <a:ext cx="3024000" cy="18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kk-KZ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</a:t>
            </a:r>
            <a:r>
              <a:rPr lang="ru-RU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ФТЕЙК-КЕЛІСІМШАРТТАР</a:t>
            </a:r>
            <a:endParaRPr lang="ru-RU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810051" y="1700808"/>
            <a:ext cx="3024336" cy="4899448"/>
            <a:chOff x="810051" y="1484784"/>
            <a:chExt cx="3024336" cy="4899448"/>
          </a:xfrm>
        </p:grpSpPr>
        <p:sp>
          <p:nvSpPr>
            <p:cNvPr id="2" name="Прямоугольник 1"/>
            <p:cNvSpPr/>
            <p:nvPr/>
          </p:nvSpPr>
          <p:spPr>
            <a:xfrm>
              <a:off x="810051" y="1700808"/>
              <a:ext cx="3024336" cy="4683424"/>
            </a:xfrm>
            <a:prstGeom prst="rect">
              <a:avLst/>
            </a:prstGeom>
            <a:solidFill>
              <a:srgbClr val="1B6893"/>
            </a:solidFill>
            <a:ln w="9525">
              <a:noFill/>
            </a:ln>
            <a:effectLst>
              <a:outerShdw blurRad="228600" dist="76200" dir="5400000" sx="107000" sy="107000" algn="ctr" rotWithShape="0">
                <a:schemeClr val="tx1">
                  <a:alpha val="18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ru-RU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" name="Прямоугольник 4"/>
            <p:cNvSpPr/>
            <p:nvPr/>
          </p:nvSpPr>
          <p:spPr>
            <a:xfrm>
              <a:off x="810051" y="1951826"/>
              <a:ext cx="3024336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ru-RU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" name="Овал 2"/>
            <p:cNvSpPr/>
            <p:nvPr/>
          </p:nvSpPr>
          <p:spPr>
            <a:xfrm>
              <a:off x="1746219" y="1484784"/>
              <a:ext cx="1152000" cy="11520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3600" b="1" dirty="0" smtClean="0">
                  <a:solidFill>
                    <a:srgbClr val="1B689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01</a:t>
              </a:r>
              <a:endParaRPr lang="ru-RU" sz="3600" b="1" dirty="0" smtClean="0">
                <a:solidFill>
                  <a:srgbClr val="1B689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4593085" y="1700808"/>
            <a:ext cx="3024336" cy="4899448"/>
            <a:chOff x="810051" y="1484784"/>
            <a:chExt cx="3024336" cy="4899448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810051" y="1700808"/>
              <a:ext cx="3024336" cy="4683424"/>
            </a:xfrm>
            <a:prstGeom prst="rect">
              <a:avLst/>
            </a:prstGeom>
            <a:solidFill>
              <a:srgbClr val="49B1CE"/>
            </a:solidFill>
            <a:ln w="9525">
              <a:noFill/>
            </a:ln>
            <a:effectLst>
              <a:outerShdw blurRad="228600" dist="76200" dir="5400000" sx="107000" sy="107000" algn="ctr" rotWithShape="0">
                <a:schemeClr val="tx1">
                  <a:alpha val="18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ru-RU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810051" y="1951826"/>
              <a:ext cx="3024336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ru-RU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0" name="Овал 19"/>
            <p:cNvSpPr/>
            <p:nvPr/>
          </p:nvSpPr>
          <p:spPr>
            <a:xfrm>
              <a:off x="1746219" y="1484784"/>
              <a:ext cx="1152000" cy="11520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3600" b="1" dirty="0" smtClean="0">
                  <a:solidFill>
                    <a:srgbClr val="49B1CE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02</a:t>
              </a:r>
              <a:endParaRPr lang="ru-RU" sz="1600" b="1" dirty="0">
                <a:solidFill>
                  <a:srgbClr val="49B1C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8400256" y="1700808"/>
            <a:ext cx="3024336" cy="4899448"/>
            <a:chOff x="810051" y="1484784"/>
            <a:chExt cx="3024336" cy="4899448"/>
          </a:xfrm>
        </p:grpSpPr>
        <p:sp>
          <p:nvSpPr>
            <p:cNvPr id="22" name="Прямоугольник 21"/>
            <p:cNvSpPr/>
            <p:nvPr/>
          </p:nvSpPr>
          <p:spPr>
            <a:xfrm>
              <a:off x="810051" y="1700808"/>
              <a:ext cx="3024336" cy="4683424"/>
            </a:xfrm>
            <a:prstGeom prst="rect">
              <a:avLst/>
            </a:prstGeom>
            <a:solidFill>
              <a:srgbClr val="60C5CC"/>
            </a:solidFill>
            <a:ln w="9525">
              <a:noFill/>
            </a:ln>
            <a:effectLst>
              <a:outerShdw blurRad="228600" dist="76200" dir="5400000" sx="107000" sy="107000" algn="ctr" rotWithShape="0">
                <a:schemeClr val="tx1">
                  <a:alpha val="18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ru-RU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810051" y="1951826"/>
              <a:ext cx="3024336" cy="2160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ru-RU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4" name="Овал 23"/>
            <p:cNvSpPr/>
            <p:nvPr/>
          </p:nvSpPr>
          <p:spPr>
            <a:xfrm>
              <a:off x="1746219" y="1484784"/>
              <a:ext cx="1152000" cy="11520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US" sz="3600" b="1" dirty="0" smtClean="0">
                  <a:solidFill>
                    <a:srgbClr val="60C5CC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03</a:t>
              </a:r>
              <a:endParaRPr lang="ru-RU" sz="1200" b="1" dirty="0" smtClean="0">
                <a:solidFill>
                  <a:srgbClr val="60C5CC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36" name="Прямоугольник 35"/>
          <p:cNvSpPr/>
          <p:nvPr/>
        </p:nvSpPr>
        <p:spPr>
          <a:xfrm>
            <a:off x="993403" y="3027901"/>
            <a:ext cx="266097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КО </a:t>
            </a:r>
            <a:r>
              <a:rPr lang="ru-RU" sz="2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қсаттары</a:t>
            </a:r>
            <a:endParaRPr lang="ru-RU" sz="20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93403" y="3716198"/>
            <a:ext cx="2580210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indent="-179388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sz="1600" i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ткізушілерді </a:t>
            </a:r>
            <a:r>
              <a:rPr lang="ru-RU" sz="16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лгіленген</a:t>
            </a:r>
            <a:r>
              <a:rPr lang="ru-RU" sz="16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ліктілік</a:t>
            </a:r>
            <a:r>
              <a:rPr lang="ru-RU" sz="16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итерийлері</a:t>
            </a:r>
            <a:r>
              <a:rPr lang="ru-RU" sz="16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йынша</a:t>
            </a:r>
            <a:r>
              <a:rPr lang="ru-RU" sz="16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ғалаудың</a:t>
            </a:r>
            <a:r>
              <a:rPr lang="ru-RU" sz="16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апайым</a:t>
            </a:r>
            <a:r>
              <a:rPr lang="ru-RU" sz="16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6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шық</a:t>
            </a:r>
            <a:r>
              <a:rPr lang="ru-RU" sz="16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6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иімді</a:t>
            </a:r>
            <a:r>
              <a:rPr lang="ru-RU" sz="16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цесін</a:t>
            </a:r>
            <a:r>
              <a:rPr lang="ru-RU" sz="16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i="1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ұйымдастыру</a:t>
            </a:r>
            <a:endParaRPr lang="en-US" sz="1600" i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9388" indent="-179388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sz="1600" i="1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қты</a:t>
            </a:r>
            <a:r>
              <a:rPr lang="ru-RU" sz="1600" i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i="1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ргілікті</a:t>
            </a:r>
            <a:r>
              <a:rPr lang="ru-RU" sz="1600" i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i="1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ндірушілерді</a:t>
            </a:r>
            <a:r>
              <a:rPr lang="ru-RU" sz="1600" i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i="1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лдау</a:t>
            </a:r>
            <a:endParaRPr lang="ru-RU" sz="1600" i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4775594" y="3027901"/>
            <a:ext cx="266097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КО </a:t>
            </a:r>
            <a:r>
              <a:rPr lang="ru-RU" sz="2000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індеттері</a:t>
            </a:r>
            <a:endParaRPr lang="ru-RU" sz="20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4717071" y="3481260"/>
            <a:ext cx="2808311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indent="-179388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sz="14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леуетті </a:t>
            </a:r>
            <a:r>
              <a:rPr lang="ru-RU" sz="14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ткізушілердің</a:t>
            </a:r>
            <a:r>
              <a:rPr lang="ru-RU" sz="14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i="1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тып</a:t>
            </a:r>
            <a:r>
              <a:rPr lang="ru-RU" sz="1400" i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ынатын</a:t>
            </a:r>
            <a:r>
              <a:rPr lang="ru-RU" sz="14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ТЖҚ-</a:t>
            </a:r>
            <a:r>
              <a:rPr lang="ru-RU" sz="14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ы</a:t>
            </a:r>
            <a:r>
              <a:rPr lang="ru-RU" sz="14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ткізуді</a:t>
            </a:r>
            <a:r>
              <a:rPr lang="ru-RU" sz="14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үзеге</a:t>
            </a:r>
            <a:r>
              <a:rPr lang="ru-RU" sz="14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сыру</a:t>
            </a:r>
            <a:r>
              <a:rPr lang="ru-RU" sz="14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білетін</a:t>
            </a:r>
            <a:r>
              <a:rPr lang="ru-RU" sz="14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i="1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йқындайтын</a:t>
            </a:r>
            <a:r>
              <a:rPr lang="ru-RU" sz="1400" i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ліктілік</a:t>
            </a:r>
            <a:r>
              <a:rPr lang="ru-RU" sz="14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итерийлерін</a:t>
            </a:r>
            <a:r>
              <a:rPr lang="ru-RU" sz="14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зірлеу</a:t>
            </a:r>
            <a:endParaRPr lang="ru-RU" sz="1400" i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9388" indent="-179388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sz="14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ікіртерімді</a:t>
            </a:r>
            <a:r>
              <a:rPr lang="ru-RU" sz="14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4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уалнама</a:t>
            </a:r>
            <a:r>
              <a:rPr lang="ru-RU" sz="14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үргізуді</a:t>
            </a:r>
            <a:r>
              <a:rPr lang="ru-RU" sz="14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</a:t>
            </a:r>
            <a:r>
              <a:rPr lang="ru-RU" sz="14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жет</a:t>
            </a:r>
            <a:r>
              <a:rPr lang="ru-RU" sz="14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ған</a:t>
            </a:r>
            <a:r>
              <a:rPr lang="ru-RU" sz="14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ғдайда</a:t>
            </a:r>
            <a:r>
              <a:rPr lang="ru-RU" sz="14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удитті</a:t>
            </a:r>
            <a:r>
              <a:rPr lang="ru-RU" sz="14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 </a:t>
            </a:r>
            <a:r>
              <a:rPr lang="ru-RU" sz="14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лдана</a:t>
            </a:r>
            <a:r>
              <a:rPr lang="ru-RU" sz="14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ырып</a:t>
            </a:r>
            <a:r>
              <a:rPr lang="ru-RU" sz="14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4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дын</a:t>
            </a:r>
            <a:r>
              <a:rPr lang="ru-RU" sz="14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ала </a:t>
            </a:r>
            <a:r>
              <a:rPr lang="ru-RU" sz="14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ғалау</a:t>
            </a:r>
            <a:r>
              <a:rPr lang="ru-RU" sz="14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үргізу</a:t>
            </a:r>
            <a:r>
              <a:rPr lang="ru-RU" sz="14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4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i="1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лікті</a:t>
            </a:r>
            <a:r>
              <a:rPr lang="ru-RU" sz="1400" i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ткізушілердің</a:t>
            </a:r>
            <a:r>
              <a:rPr lang="ru-RU" sz="14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улын</a:t>
            </a:r>
            <a:r>
              <a:rPr lang="ru-RU" sz="14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лыптастыру</a:t>
            </a:r>
            <a:endParaRPr lang="ru-RU" sz="1400" i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1015107" y="912765"/>
            <a:ext cx="313667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17335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дын ала </a:t>
            </a:r>
            <a:r>
              <a:rPr lang="ru-RU" b="1" dirty="0" err="1">
                <a:solidFill>
                  <a:srgbClr val="17335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ліктілік</a:t>
            </a:r>
            <a:r>
              <a:rPr lang="en-US" b="1" dirty="0">
                <a:solidFill>
                  <a:srgbClr val="17335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kk-KZ" b="1" dirty="0" smtClean="0">
                <a:solidFill>
                  <a:srgbClr val="17335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іріктеу </a:t>
            </a:r>
            <a:r>
              <a:rPr lang="en-US" b="1" dirty="0" smtClean="0">
                <a:solidFill>
                  <a:srgbClr val="17335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kk-KZ" b="1" dirty="0">
                <a:solidFill>
                  <a:srgbClr val="17335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КО</a:t>
            </a:r>
            <a:r>
              <a:rPr lang="en-US" b="1" dirty="0" smtClean="0">
                <a:solidFill>
                  <a:srgbClr val="17335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ru-RU" dirty="0">
              <a:solidFill>
                <a:srgbClr val="17335D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4227016" y="912765"/>
            <a:ext cx="75887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леуетті </a:t>
            </a:r>
            <a:r>
              <a:rPr lang="kk-KZ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ткіз</a:t>
            </a:r>
            <a:r>
              <a:rPr lang="ru-RU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шілердің</a:t>
            </a:r>
            <a:r>
              <a:rPr lang="ru-RU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тып</a:t>
            </a:r>
            <a:r>
              <a:rPr lang="ru-RU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уға</a:t>
            </a:r>
            <a:r>
              <a:rPr lang="ru-RU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дан</a:t>
            </a:r>
            <a:r>
              <a:rPr lang="ru-RU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рі</a:t>
            </a:r>
            <a:r>
              <a:rPr lang="ru-RU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тысуы</a:t>
            </a:r>
            <a:r>
              <a:rPr lang="ru-RU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шін</a:t>
            </a:r>
            <a:r>
              <a:rPr lang="ru-RU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лардың</a:t>
            </a:r>
            <a:r>
              <a:rPr lang="ru-RU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ліктілік</a:t>
            </a:r>
            <a:r>
              <a:rPr lang="ru-RU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лаптарына</a:t>
            </a:r>
            <a:r>
              <a:rPr lang="ru-RU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әйкестігі</a:t>
            </a:r>
            <a:r>
              <a:rPr lang="ru-RU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ұрғысынан</a:t>
            </a:r>
            <a:r>
              <a:rPr lang="ru-RU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ғалау</a:t>
            </a:r>
            <a:r>
              <a:rPr lang="ru-RU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әсімі</a:t>
            </a:r>
            <a:endParaRPr lang="ru-RU" dirty="0">
              <a:solidFill>
                <a:schemeClr val="bg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" name="Шеврон 27"/>
          <p:cNvSpPr/>
          <p:nvPr/>
        </p:nvSpPr>
        <p:spPr>
          <a:xfrm>
            <a:off x="3864899" y="1024469"/>
            <a:ext cx="184365" cy="416575"/>
          </a:xfrm>
          <a:prstGeom prst="chevron">
            <a:avLst>
              <a:gd name="adj" fmla="val 60332"/>
            </a:avLst>
          </a:prstGeom>
          <a:solidFill>
            <a:srgbClr val="17335D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8554029" y="3027901"/>
            <a:ext cx="266097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КО </a:t>
            </a:r>
            <a:r>
              <a:rPr lang="ru-RU" sz="2000" b="1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цестері</a:t>
            </a:r>
            <a:endParaRPr lang="ru-RU" sz="20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8495506" y="3481260"/>
            <a:ext cx="2808311" cy="2954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indent="-179388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sz="16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лікті</a:t>
            </a:r>
            <a:r>
              <a:rPr lang="ru-RU" sz="16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леуетті</a:t>
            </a:r>
            <a:r>
              <a:rPr lang="ru-RU" sz="16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ткізушілер</a:t>
            </a:r>
            <a:r>
              <a:rPr lang="ru-RU" sz="16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i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КПП) </a:t>
            </a:r>
            <a:r>
              <a:rPr lang="ru-RU" sz="16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расында</a:t>
            </a:r>
            <a:r>
              <a:rPr lang="ru-RU" sz="16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тып</a:t>
            </a:r>
            <a:r>
              <a:rPr lang="ru-RU" sz="16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ынатын</a:t>
            </a:r>
            <a:r>
              <a:rPr lang="ru-RU" sz="16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ТЖҚ </a:t>
            </a:r>
            <a:r>
              <a:rPr lang="ru-RU" sz="1600" i="1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оменклатурасын</a:t>
            </a:r>
            <a:r>
              <a:rPr lang="ru-RU" sz="1600" i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</a:t>
            </a:r>
            <a:r>
              <a:rPr lang="kk-KZ" sz="1600" i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тегорияларын</a:t>
            </a:r>
            <a:r>
              <a:rPr lang="ru-RU" sz="1600" i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 </a:t>
            </a:r>
            <a:r>
              <a:rPr lang="ru-RU" sz="1600" i="1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лыптастыру</a:t>
            </a:r>
            <a:r>
              <a:rPr lang="ru-RU" sz="1600" i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marL="179388" indent="-179388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sz="1600" i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ткізушілерді </a:t>
            </a:r>
            <a:r>
              <a:rPr lang="ru-RU" sz="16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дын</a:t>
            </a:r>
            <a:r>
              <a:rPr lang="ru-RU" sz="16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ала </a:t>
            </a:r>
            <a:r>
              <a:rPr lang="ru-RU" sz="16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ліктілік</a:t>
            </a:r>
            <a:r>
              <a:rPr lang="ru-RU" sz="16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іріктеуін</a:t>
            </a:r>
            <a:r>
              <a:rPr lang="ru-RU" sz="16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үргізу</a:t>
            </a:r>
            <a:r>
              <a:rPr lang="ru-RU" sz="16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</a:t>
            </a:r>
            <a:r>
              <a:rPr lang="ru-RU" sz="16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стел</a:t>
            </a:r>
            <a:r>
              <a:rPr lang="ru-RU" sz="16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удиті</a:t>
            </a:r>
            <a:r>
              <a:rPr lang="ru-RU" sz="16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/ </a:t>
            </a:r>
            <a:r>
              <a:rPr lang="ru-RU" sz="16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тификаттау</a:t>
            </a:r>
            <a:r>
              <a:rPr lang="ru-RU" sz="1600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i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удиті</a:t>
            </a:r>
            <a:r>
              <a:rPr lang="ru-RU" sz="1600" i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ru-RU" sz="1600" i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8026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033885" y="346455"/>
            <a:ext cx="11038779" cy="4078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kk-KZ" sz="2050" b="1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ПП АРАСЫНДА САТЫП АЛЫНАТЫН ТЖҚ (КАТЕГОРИЯЛАРЫН) АЙҚЫНДАУ</a:t>
            </a:r>
            <a:endParaRPr lang="kk-KZ" sz="205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2" name="Шеврон 91"/>
          <p:cNvSpPr/>
          <p:nvPr/>
        </p:nvSpPr>
        <p:spPr>
          <a:xfrm>
            <a:off x="3082080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РЕЕСТРЛЕР (ТПФ/ОИН)</a:t>
            </a:r>
          </a:p>
        </p:txBody>
      </p:sp>
      <p:sp>
        <p:nvSpPr>
          <p:cNvPr id="93" name="Шеврон 92"/>
          <p:cNvSpPr/>
          <p:nvPr/>
        </p:nvSpPr>
        <p:spPr>
          <a:xfrm>
            <a:off x="6090212" y="43570"/>
            <a:ext cx="3024000" cy="180000"/>
          </a:xfrm>
          <a:prstGeom prst="chevron">
            <a:avLst>
              <a:gd name="adj" fmla="val 46736"/>
            </a:avLst>
          </a:prstGeom>
          <a:solidFill>
            <a:srgbClr val="17335D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. ПКО</a:t>
            </a:r>
          </a:p>
        </p:txBody>
      </p:sp>
      <p:sp>
        <p:nvSpPr>
          <p:cNvPr id="94" name="Шеврон 93"/>
          <p:cNvSpPr/>
          <p:nvPr/>
        </p:nvSpPr>
        <p:spPr>
          <a:xfrm>
            <a:off x="9095936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. ЕНС ТРУ</a:t>
            </a:r>
          </a:p>
        </p:txBody>
      </p:sp>
      <p:sp>
        <p:nvSpPr>
          <p:cNvPr id="95" name="Пятиугольник 94"/>
          <p:cNvSpPr/>
          <p:nvPr/>
        </p:nvSpPr>
        <p:spPr>
          <a:xfrm>
            <a:off x="76356" y="47575"/>
            <a:ext cx="3024000" cy="18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kk-KZ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</a:t>
            </a:r>
            <a:r>
              <a:rPr lang="ru-RU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ФТЕЙК-КЕЛІСІМШАРТТАР</a:t>
            </a:r>
            <a:endParaRPr lang="ru-RU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231160" y="1085077"/>
            <a:ext cx="117373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17335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ЖҚ-</a:t>
            </a:r>
            <a:r>
              <a:rPr lang="ru-RU" b="1" dirty="0" err="1">
                <a:solidFill>
                  <a:srgbClr val="17335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ы</a:t>
            </a:r>
            <a:r>
              <a:rPr lang="ru-RU" b="1" dirty="0">
                <a:solidFill>
                  <a:srgbClr val="17335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dirty="0" err="1">
                <a:solidFill>
                  <a:srgbClr val="17335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оменклатураға</a:t>
            </a:r>
            <a:r>
              <a:rPr lang="ru-RU" b="1" dirty="0">
                <a:solidFill>
                  <a:srgbClr val="17335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dirty="0" err="1" smtClean="0">
                <a:solidFill>
                  <a:srgbClr val="17335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ынадай</a:t>
            </a:r>
            <a:r>
              <a:rPr lang="ru-RU" b="1" dirty="0" smtClean="0">
                <a:solidFill>
                  <a:srgbClr val="17335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dirty="0" err="1">
                <a:solidFill>
                  <a:srgbClr val="17335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зара</a:t>
            </a:r>
            <a:r>
              <a:rPr lang="ru-RU" b="1" dirty="0">
                <a:solidFill>
                  <a:srgbClr val="17335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dirty="0" err="1">
                <a:solidFill>
                  <a:srgbClr val="17335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йланысты</a:t>
            </a:r>
            <a:r>
              <a:rPr lang="ru-RU" b="1" dirty="0">
                <a:solidFill>
                  <a:srgbClr val="17335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dirty="0" err="1">
                <a:solidFill>
                  <a:srgbClr val="17335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арттарға</a:t>
            </a:r>
            <a:r>
              <a:rPr lang="ru-RU" b="1" dirty="0">
                <a:solidFill>
                  <a:srgbClr val="17335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dirty="0" err="1">
                <a:solidFill>
                  <a:srgbClr val="17335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әйкес</a:t>
            </a:r>
            <a:r>
              <a:rPr lang="ru-RU" b="1" dirty="0">
                <a:solidFill>
                  <a:srgbClr val="17335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dirty="0" err="1">
                <a:solidFill>
                  <a:srgbClr val="17335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лген</a:t>
            </a:r>
            <a:r>
              <a:rPr lang="ru-RU" b="1" dirty="0">
                <a:solidFill>
                  <a:srgbClr val="17335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dirty="0" err="1">
                <a:solidFill>
                  <a:srgbClr val="17335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зде</a:t>
            </a:r>
            <a:r>
              <a:rPr lang="ru-RU" b="1" dirty="0">
                <a:solidFill>
                  <a:srgbClr val="17335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dirty="0" err="1" smtClean="0">
                <a:solidFill>
                  <a:srgbClr val="17335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гізіледі</a:t>
            </a:r>
            <a:endParaRPr lang="ru-RU" dirty="0">
              <a:solidFill>
                <a:srgbClr val="17335D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5084357" y="1844824"/>
            <a:ext cx="2030910" cy="4270025"/>
            <a:chOff x="5084357" y="1967287"/>
            <a:chExt cx="2030910" cy="3477937"/>
          </a:xfrm>
        </p:grpSpPr>
        <p:sp>
          <p:nvSpPr>
            <p:cNvPr id="49" name="Прямоугольник 48"/>
            <p:cNvSpPr/>
            <p:nvPr/>
          </p:nvSpPr>
          <p:spPr>
            <a:xfrm>
              <a:off x="5084357" y="1967287"/>
              <a:ext cx="2030910" cy="3477937"/>
            </a:xfrm>
            <a:prstGeom prst="rect">
              <a:avLst/>
            </a:prstGeom>
            <a:solidFill>
              <a:srgbClr val="1C7CBB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ru-RU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5181812" y="2068255"/>
              <a:ext cx="1836000" cy="3276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ru-RU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57" name="Группа 56"/>
          <p:cNvGrpSpPr/>
          <p:nvPr/>
        </p:nvGrpSpPr>
        <p:grpSpPr>
          <a:xfrm>
            <a:off x="747701" y="1844824"/>
            <a:ext cx="2030910" cy="4270025"/>
            <a:chOff x="5084357" y="1967287"/>
            <a:chExt cx="2030910" cy="3477937"/>
          </a:xfrm>
        </p:grpSpPr>
        <p:sp>
          <p:nvSpPr>
            <p:cNvPr id="58" name="Прямоугольник 57"/>
            <p:cNvSpPr/>
            <p:nvPr/>
          </p:nvSpPr>
          <p:spPr>
            <a:xfrm>
              <a:off x="5084357" y="1967287"/>
              <a:ext cx="2030910" cy="3477937"/>
            </a:xfrm>
            <a:prstGeom prst="rect">
              <a:avLst/>
            </a:prstGeom>
            <a:solidFill>
              <a:srgbClr val="60C5CC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ru-RU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5181812" y="2068255"/>
              <a:ext cx="1836000" cy="3276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ru-RU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60" name="Группа 59"/>
          <p:cNvGrpSpPr/>
          <p:nvPr/>
        </p:nvGrpSpPr>
        <p:grpSpPr>
          <a:xfrm>
            <a:off x="2916029" y="1844824"/>
            <a:ext cx="2030910" cy="4270025"/>
            <a:chOff x="5084357" y="1967287"/>
            <a:chExt cx="2030910" cy="3477937"/>
          </a:xfrm>
        </p:grpSpPr>
        <p:sp>
          <p:nvSpPr>
            <p:cNvPr id="61" name="Прямоугольник 60"/>
            <p:cNvSpPr/>
            <p:nvPr/>
          </p:nvSpPr>
          <p:spPr>
            <a:xfrm>
              <a:off x="5084357" y="1967287"/>
              <a:ext cx="2030910" cy="3477937"/>
            </a:xfrm>
            <a:prstGeom prst="rect">
              <a:avLst/>
            </a:prstGeom>
            <a:solidFill>
              <a:srgbClr val="49B1CE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ru-RU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2" name="Прямоугольник 61"/>
            <p:cNvSpPr/>
            <p:nvPr/>
          </p:nvSpPr>
          <p:spPr>
            <a:xfrm>
              <a:off x="5181812" y="2068255"/>
              <a:ext cx="1836000" cy="3276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ru-RU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63" name="Группа 62"/>
          <p:cNvGrpSpPr/>
          <p:nvPr/>
        </p:nvGrpSpPr>
        <p:grpSpPr>
          <a:xfrm>
            <a:off x="7252685" y="1844824"/>
            <a:ext cx="2030910" cy="4270025"/>
            <a:chOff x="5084357" y="1967287"/>
            <a:chExt cx="2030910" cy="3477937"/>
          </a:xfrm>
        </p:grpSpPr>
        <p:sp>
          <p:nvSpPr>
            <p:cNvPr id="64" name="Прямоугольник 63"/>
            <p:cNvSpPr/>
            <p:nvPr/>
          </p:nvSpPr>
          <p:spPr>
            <a:xfrm>
              <a:off x="5084357" y="1967287"/>
              <a:ext cx="2030910" cy="3477937"/>
            </a:xfrm>
            <a:prstGeom prst="rect">
              <a:avLst/>
            </a:prstGeom>
            <a:solidFill>
              <a:srgbClr val="1B6893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ru-RU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5" name="Прямоугольник 64"/>
            <p:cNvSpPr/>
            <p:nvPr/>
          </p:nvSpPr>
          <p:spPr>
            <a:xfrm>
              <a:off x="5181812" y="2068255"/>
              <a:ext cx="1836000" cy="3276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ru-RU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66" name="Группа 65"/>
          <p:cNvGrpSpPr/>
          <p:nvPr/>
        </p:nvGrpSpPr>
        <p:grpSpPr>
          <a:xfrm>
            <a:off x="9422476" y="1844824"/>
            <a:ext cx="2030910" cy="4270025"/>
            <a:chOff x="5084357" y="1967287"/>
            <a:chExt cx="2030910" cy="3477937"/>
          </a:xfrm>
        </p:grpSpPr>
        <p:sp>
          <p:nvSpPr>
            <p:cNvPr id="67" name="Прямоугольник 66"/>
            <p:cNvSpPr/>
            <p:nvPr/>
          </p:nvSpPr>
          <p:spPr>
            <a:xfrm>
              <a:off x="5084357" y="1967287"/>
              <a:ext cx="2030910" cy="3477937"/>
            </a:xfrm>
            <a:prstGeom prst="rect">
              <a:avLst/>
            </a:prstGeom>
            <a:solidFill>
              <a:schemeClr val="accent2">
                <a:lumMod val="25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ru-RU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8" name="Прямоугольник 67"/>
            <p:cNvSpPr/>
            <p:nvPr/>
          </p:nvSpPr>
          <p:spPr>
            <a:xfrm>
              <a:off x="5181812" y="2068255"/>
              <a:ext cx="1836000" cy="3276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ru-RU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0" name="Прямоугольник с двумя скругленными противолежащими углами 9"/>
          <p:cNvSpPr/>
          <p:nvPr/>
        </p:nvSpPr>
        <p:spPr>
          <a:xfrm>
            <a:off x="1408002" y="2082401"/>
            <a:ext cx="720000" cy="720000"/>
          </a:xfrm>
          <a:prstGeom prst="round2DiagRect">
            <a:avLst>
              <a:gd name="adj1" fmla="val 23282"/>
              <a:gd name="adj2" fmla="val 0"/>
            </a:avLst>
          </a:prstGeom>
          <a:solidFill>
            <a:srgbClr val="60C5CC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1</a:t>
            </a:r>
            <a:endParaRPr lang="ru-RU" sz="2400" b="1" dirty="0" smtClean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9" name="Прямоугольник с двумя скругленными противолежащими углами 68"/>
          <p:cNvSpPr/>
          <p:nvPr/>
        </p:nvSpPr>
        <p:spPr>
          <a:xfrm>
            <a:off x="3571484" y="2082401"/>
            <a:ext cx="720000" cy="720000"/>
          </a:xfrm>
          <a:prstGeom prst="round2DiagRect">
            <a:avLst>
              <a:gd name="adj1" fmla="val 23282"/>
              <a:gd name="adj2" fmla="val 0"/>
            </a:avLst>
          </a:prstGeom>
          <a:solidFill>
            <a:srgbClr val="49B1C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2</a:t>
            </a:r>
            <a:endParaRPr lang="ru-RU" sz="2400" b="1" dirty="0" smtClean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0" name="Прямоугольник с двумя скругленными противолежащими углами 69"/>
          <p:cNvSpPr/>
          <p:nvPr/>
        </p:nvSpPr>
        <p:spPr>
          <a:xfrm>
            <a:off x="5739812" y="2082401"/>
            <a:ext cx="720000" cy="720000"/>
          </a:xfrm>
          <a:prstGeom prst="round2DiagRect">
            <a:avLst>
              <a:gd name="adj1" fmla="val 23282"/>
              <a:gd name="adj2" fmla="val 0"/>
            </a:avLst>
          </a:prstGeom>
          <a:solidFill>
            <a:srgbClr val="1C7CBB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3</a:t>
            </a:r>
            <a:endParaRPr lang="ru-RU" sz="2400" b="1" dirty="0" smtClean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1" name="Прямоугольник с двумя скругленными противолежащими углами 70"/>
          <p:cNvSpPr/>
          <p:nvPr/>
        </p:nvSpPr>
        <p:spPr>
          <a:xfrm>
            <a:off x="7908140" y="2082401"/>
            <a:ext cx="720000" cy="720000"/>
          </a:xfrm>
          <a:prstGeom prst="round2DiagRect">
            <a:avLst>
              <a:gd name="adj1" fmla="val 23282"/>
              <a:gd name="adj2" fmla="val 0"/>
            </a:avLst>
          </a:prstGeom>
          <a:solidFill>
            <a:srgbClr val="1B689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4</a:t>
            </a:r>
            <a:endParaRPr lang="ru-RU" sz="2400" b="1" dirty="0" smtClean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2" name="Прямоугольник с двумя скругленными противолежащими углами 71"/>
          <p:cNvSpPr/>
          <p:nvPr/>
        </p:nvSpPr>
        <p:spPr>
          <a:xfrm>
            <a:off x="10077931" y="2082401"/>
            <a:ext cx="720000" cy="720000"/>
          </a:xfrm>
          <a:prstGeom prst="round2DiagRect">
            <a:avLst>
              <a:gd name="adj1" fmla="val 23282"/>
              <a:gd name="adj2" fmla="val 0"/>
            </a:avLst>
          </a:prstGeom>
          <a:solidFill>
            <a:schemeClr val="accent2">
              <a:lumMod val="2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5</a:t>
            </a:r>
            <a:endParaRPr lang="ru-RU" sz="2400" b="1" dirty="0" smtClean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940258" y="3267147"/>
            <a:ext cx="1645796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псырыс </a:t>
            </a:r>
            <a:r>
              <a:rPr lang="ru-RU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рушінің</a:t>
            </a: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бизнес </a:t>
            </a:r>
            <a:r>
              <a:rPr lang="ru-RU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ғыттары</a:t>
            </a: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шін</a:t>
            </a: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ТЖҚ-</a:t>
            </a:r>
            <a:r>
              <a:rPr lang="ru-RU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ың</a:t>
            </a: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ғары</a:t>
            </a: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ңызды</a:t>
            </a:r>
            <a:r>
              <a:rPr lang="en-US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</a:t>
            </a:r>
            <a:r>
              <a:rPr lang="ru-RU" sz="16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ығы</a:t>
            </a:r>
            <a:endParaRPr lang="ru-RU" sz="16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3100356" y="3636478"/>
            <a:ext cx="164579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 </a:t>
            </a:r>
            <a:r>
              <a:rPr lang="ru-RU" sz="16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йынғы</a:t>
            </a:r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ұрақты</a:t>
            </a: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 </a:t>
            </a:r>
            <a:r>
              <a:rPr lang="ru-RU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жеттіліктің</a:t>
            </a: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уы</a:t>
            </a:r>
            <a:endParaRPr lang="ru-RU" sz="16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5258221" y="3390256"/>
            <a:ext cx="168318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ндарт</a:t>
            </a:r>
            <a:r>
              <a:rPr lang="en-US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</a:t>
            </a:r>
            <a:r>
              <a:rPr lang="ru-RU" sz="16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лған</a:t>
            </a:r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хникалық</a:t>
            </a:r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ипаттама</a:t>
            </a:r>
            <a:r>
              <a:rPr lang="en-US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</a:t>
            </a:r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ары </a:t>
            </a: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н </a:t>
            </a:r>
            <a:r>
              <a:rPr lang="ru-RU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ткізу</a:t>
            </a: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арттары</a:t>
            </a:r>
            <a:endParaRPr lang="ru-RU" sz="16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7445242" y="3516245"/>
            <a:ext cx="164579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мінде 2 </a:t>
            </a: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кі</a:t>
            </a: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 </a:t>
            </a:r>
            <a:r>
              <a:rPr lang="ru-RU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іркелген</a:t>
            </a: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леуетті</a:t>
            </a: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ткізушінің</a:t>
            </a: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уы</a:t>
            </a:r>
            <a:endParaRPr lang="ru-RU" sz="16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9615033" y="3390256"/>
            <a:ext cx="1645796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Ірі</a:t>
            </a:r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инвестиция</a:t>
            </a:r>
            <a:r>
              <a:rPr lang="en-US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</a:t>
            </a:r>
            <a:r>
              <a:rPr lang="ru-RU" sz="16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ық</a:t>
            </a:r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баларды</a:t>
            </a: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іске</a:t>
            </a: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сыру</a:t>
            </a: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қсатында</a:t>
            </a: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тып</a:t>
            </a: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у</a:t>
            </a:r>
            <a:endParaRPr lang="ru-RU" sz="16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7046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033885" y="346455"/>
            <a:ext cx="11038779" cy="4078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kk-KZ" sz="2050" b="1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ДЫН АЛА БІЛІКТІЛІК ІРІКТЕУІН ЖҮРГІЗУ </a:t>
            </a:r>
            <a:endParaRPr lang="kk-KZ" sz="205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2" name="Шеврон 91"/>
          <p:cNvSpPr/>
          <p:nvPr/>
        </p:nvSpPr>
        <p:spPr>
          <a:xfrm>
            <a:off x="3082080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РЕЕСТРЛЕР (ТПФ/ОИН)</a:t>
            </a:r>
          </a:p>
        </p:txBody>
      </p:sp>
      <p:sp>
        <p:nvSpPr>
          <p:cNvPr id="93" name="Шеврон 92"/>
          <p:cNvSpPr/>
          <p:nvPr/>
        </p:nvSpPr>
        <p:spPr>
          <a:xfrm>
            <a:off x="6090212" y="43570"/>
            <a:ext cx="3024000" cy="180000"/>
          </a:xfrm>
          <a:prstGeom prst="chevron">
            <a:avLst>
              <a:gd name="adj" fmla="val 46736"/>
            </a:avLst>
          </a:prstGeom>
          <a:solidFill>
            <a:srgbClr val="17335D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. ПКО</a:t>
            </a:r>
          </a:p>
        </p:txBody>
      </p:sp>
      <p:sp>
        <p:nvSpPr>
          <p:cNvPr id="94" name="Шеврон 93"/>
          <p:cNvSpPr/>
          <p:nvPr/>
        </p:nvSpPr>
        <p:spPr>
          <a:xfrm>
            <a:off x="9095936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. ЕНС ТРУ</a:t>
            </a:r>
          </a:p>
        </p:txBody>
      </p:sp>
      <p:sp>
        <p:nvSpPr>
          <p:cNvPr id="95" name="Пятиугольник 94"/>
          <p:cNvSpPr/>
          <p:nvPr/>
        </p:nvSpPr>
        <p:spPr>
          <a:xfrm>
            <a:off x="76356" y="47575"/>
            <a:ext cx="3024000" cy="18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kk-KZ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</a:t>
            </a:r>
            <a:r>
              <a:rPr lang="ru-RU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ФТЕЙК-КЕЛІСІМШАРТТАР</a:t>
            </a:r>
            <a:endParaRPr lang="ru-RU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85" name="Группа 84"/>
          <p:cNvGrpSpPr/>
          <p:nvPr/>
        </p:nvGrpSpPr>
        <p:grpSpPr>
          <a:xfrm>
            <a:off x="1702147" y="2035640"/>
            <a:ext cx="7597097" cy="1800001"/>
            <a:chOff x="2171311" y="1916831"/>
            <a:chExt cx="7597097" cy="1800001"/>
          </a:xfrm>
        </p:grpSpPr>
        <p:sp>
          <p:nvSpPr>
            <p:cNvPr id="86" name="Арка 85"/>
            <p:cNvSpPr/>
            <p:nvPr/>
          </p:nvSpPr>
          <p:spPr>
            <a:xfrm rot="5400000">
              <a:off x="7968408" y="1916832"/>
              <a:ext cx="1800000" cy="1800000"/>
            </a:xfrm>
            <a:prstGeom prst="blockArc">
              <a:avLst>
                <a:gd name="adj1" fmla="val 10800000"/>
                <a:gd name="adj2" fmla="val 11380"/>
                <a:gd name="adj3" fmla="val 10040"/>
              </a:avLst>
            </a:prstGeom>
            <a:solidFill>
              <a:schemeClr val="accent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ru-RU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7" name="Прямоугольник 86"/>
            <p:cNvSpPr/>
            <p:nvPr/>
          </p:nvSpPr>
          <p:spPr>
            <a:xfrm>
              <a:off x="2171311" y="1916831"/>
              <a:ext cx="6697097" cy="180001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ru-RU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8" name="Прямоугольник 87"/>
            <p:cNvSpPr/>
            <p:nvPr/>
          </p:nvSpPr>
          <p:spPr>
            <a:xfrm>
              <a:off x="2171311" y="3536831"/>
              <a:ext cx="6697097" cy="180001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ru-RU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253" name="Oval 45">
            <a:extLst>
              <a:ext uri="{FF2B5EF4-FFF2-40B4-BE49-F238E27FC236}">
                <a16:creationId xmlns:a16="http://schemas.microsoft.com/office/drawing/2014/main" xmlns="" id="{86694F26-80D5-467D-94C4-C9C860517F5F}"/>
              </a:ext>
            </a:extLst>
          </p:cNvPr>
          <p:cNvSpPr/>
          <p:nvPr/>
        </p:nvSpPr>
        <p:spPr>
          <a:xfrm>
            <a:off x="7994130" y="1929381"/>
            <a:ext cx="381600" cy="3816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89" name="Группа 88"/>
          <p:cNvGrpSpPr/>
          <p:nvPr/>
        </p:nvGrpSpPr>
        <p:grpSpPr>
          <a:xfrm rot="10800000">
            <a:off x="802148" y="3655641"/>
            <a:ext cx="7597095" cy="1800000"/>
            <a:chOff x="2171313" y="2996952"/>
            <a:chExt cx="7597095" cy="1800000"/>
          </a:xfrm>
        </p:grpSpPr>
        <p:sp>
          <p:nvSpPr>
            <p:cNvPr id="90" name="Арка 89"/>
            <p:cNvSpPr/>
            <p:nvPr/>
          </p:nvSpPr>
          <p:spPr>
            <a:xfrm rot="16200000" flipV="1">
              <a:off x="7968408" y="2996952"/>
              <a:ext cx="1800000" cy="1800000"/>
            </a:xfrm>
            <a:prstGeom prst="blockArc">
              <a:avLst>
                <a:gd name="adj1" fmla="val 10800000"/>
                <a:gd name="adj2" fmla="val 11380"/>
                <a:gd name="adj3" fmla="val 10040"/>
              </a:avLst>
            </a:prstGeom>
            <a:solidFill>
              <a:schemeClr val="accent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ru-RU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1" name="Прямоугольник 90"/>
            <p:cNvSpPr/>
            <p:nvPr/>
          </p:nvSpPr>
          <p:spPr>
            <a:xfrm flipV="1">
              <a:off x="2171313" y="2996952"/>
              <a:ext cx="2627490" cy="180000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ru-RU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4" name="Прямоугольник 143"/>
            <p:cNvSpPr/>
            <p:nvPr/>
          </p:nvSpPr>
          <p:spPr>
            <a:xfrm flipV="1">
              <a:off x="8526575" y="2996952"/>
              <a:ext cx="341834" cy="180000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ru-RU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96" name="Группа 95"/>
          <p:cNvGrpSpPr/>
          <p:nvPr/>
        </p:nvGrpSpPr>
        <p:grpSpPr>
          <a:xfrm>
            <a:off x="1041685" y="1779358"/>
            <a:ext cx="694370" cy="694370"/>
            <a:chOff x="1835138" y="1588542"/>
            <a:chExt cx="694370" cy="694370"/>
          </a:xfrm>
        </p:grpSpPr>
        <p:sp>
          <p:nvSpPr>
            <p:cNvPr id="97" name="Oval 45">
              <a:extLst>
                <a:ext uri="{FF2B5EF4-FFF2-40B4-BE49-F238E27FC236}">
                  <a16:creationId xmlns:a16="http://schemas.microsoft.com/office/drawing/2014/main" xmlns="" id="{86694F26-80D5-467D-94C4-C9C860517F5F}"/>
                </a:ext>
              </a:extLst>
            </p:cNvPr>
            <p:cNvSpPr/>
            <p:nvPr/>
          </p:nvSpPr>
          <p:spPr>
            <a:xfrm>
              <a:off x="2087073" y="1840477"/>
              <a:ext cx="190500" cy="1905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8" name="Circle: Hollow 46">
              <a:extLst>
                <a:ext uri="{FF2B5EF4-FFF2-40B4-BE49-F238E27FC236}">
                  <a16:creationId xmlns:a16="http://schemas.microsoft.com/office/drawing/2014/main" xmlns="" id="{B0789B4A-0620-4211-9109-6DBE9A07FE51}"/>
                </a:ext>
              </a:extLst>
            </p:cNvPr>
            <p:cNvSpPr/>
            <p:nvPr/>
          </p:nvSpPr>
          <p:spPr>
            <a:xfrm>
              <a:off x="1968010" y="1721414"/>
              <a:ext cx="428626" cy="428626"/>
            </a:xfrm>
            <a:prstGeom prst="donut">
              <a:avLst>
                <a:gd name="adj" fmla="val 5281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9" name="Circle: Hollow 47">
              <a:extLst>
                <a:ext uri="{FF2B5EF4-FFF2-40B4-BE49-F238E27FC236}">
                  <a16:creationId xmlns:a16="http://schemas.microsoft.com/office/drawing/2014/main" xmlns="" id="{9C63B36C-028C-4461-9179-02E81EA9B830}"/>
                </a:ext>
              </a:extLst>
            </p:cNvPr>
            <p:cNvSpPr/>
            <p:nvPr/>
          </p:nvSpPr>
          <p:spPr>
            <a:xfrm>
              <a:off x="1835138" y="1588542"/>
              <a:ext cx="694370" cy="694370"/>
            </a:xfrm>
            <a:prstGeom prst="donut">
              <a:avLst>
                <a:gd name="adj" fmla="val 4937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pic>
        <p:nvPicPr>
          <p:cNvPr id="100" name="Graphic 30" descr="Crawl">
            <a:extLst>
              <a:ext uri="{FF2B5EF4-FFF2-40B4-BE49-F238E27FC236}">
                <a16:creationId xmlns:a16="http://schemas.microsoft.com/office/drawing/2014/main" xmlns="" id="{97AC47B0-42E8-4D21-BE7F-ABEBD2DE20D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0325" y="1779358"/>
            <a:ext cx="612000" cy="612000"/>
          </a:xfrm>
          <a:prstGeom prst="rect">
            <a:avLst/>
          </a:prstGeom>
        </p:spPr>
      </p:pic>
      <p:pic>
        <p:nvPicPr>
          <p:cNvPr id="101" name="Graphic 43" descr="Confused person">
            <a:extLst>
              <a:ext uri="{FF2B5EF4-FFF2-40B4-BE49-F238E27FC236}">
                <a16:creationId xmlns:a16="http://schemas.microsoft.com/office/drawing/2014/main" xmlns="" id="{39C0C03B-D7A8-453B-9B95-FB497124B64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32429" y="4954095"/>
            <a:ext cx="612000" cy="612000"/>
          </a:xfrm>
          <a:prstGeom prst="rect">
            <a:avLst/>
          </a:prstGeom>
        </p:spPr>
      </p:pic>
      <p:grpSp>
        <p:nvGrpSpPr>
          <p:cNvPr id="102" name="Группа 101"/>
          <p:cNvGrpSpPr/>
          <p:nvPr/>
        </p:nvGrpSpPr>
        <p:grpSpPr>
          <a:xfrm>
            <a:off x="8381731" y="5008160"/>
            <a:ext cx="694370" cy="694370"/>
            <a:chOff x="1835138" y="1588542"/>
            <a:chExt cx="694370" cy="694370"/>
          </a:xfrm>
        </p:grpSpPr>
        <p:sp>
          <p:nvSpPr>
            <p:cNvPr id="103" name="Oval 45">
              <a:extLst>
                <a:ext uri="{FF2B5EF4-FFF2-40B4-BE49-F238E27FC236}">
                  <a16:creationId xmlns:a16="http://schemas.microsoft.com/office/drawing/2014/main" xmlns="" id="{86694F26-80D5-467D-94C4-C9C860517F5F}"/>
                </a:ext>
              </a:extLst>
            </p:cNvPr>
            <p:cNvSpPr/>
            <p:nvPr/>
          </p:nvSpPr>
          <p:spPr>
            <a:xfrm>
              <a:off x="2087073" y="1840477"/>
              <a:ext cx="190500" cy="190500"/>
            </a:xfrm>
            <a:prstGeom prst="ellipse">
              <a:avLst/>
            </a:prstGeom>
            <a:solidFill>
              <a:srgbClr val="00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4" name="Circle: Hollow 46">
              <a:extLst>
                <a:ext uri="{FF2B5EF4-FFF2-40B4-BE49-F238E27FC236}">
                  <a16:creationId xmlns:a16="http://schemas.microsoft.com/office/drawing/2014/main" xmlns="" id="{B0789B4A-0620-4211-9109-6DBE9A07FE51}"/>
                </a:ext>
              </a:extLst>
            </p:cNvPr>
            <p:cNvSpPr/>
            <p:nvPr/>
          </p:nvSpPr>
          <p:spPr>
            <a:xfrm>
              <a:off x="1968010" y="1721414"/>
              <a:ext cx="428626" cy="428626"/>
            </a:xfrm>
            <a:prstGeom prst="donut">
              <a:avLst>
                <a:gd name="adj" fmla="val 5281"/>
              </a:avLst>
            </a:prstGeom>
            <a:solidFill>
              <a:srgbClr val="00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5" name="Circle: Hollow 47">
              <a:extLst>
                <a:ext uri="{FF2B5EF4-FFF2-40B4-BE49-F238E27FC236}">
                  <a16:creationId xmlns:a16="http://schemas.microsoft.com/office/drawing/2014/main" xmlns="" id="{9C63B36C-028C-4461-9179-02E81EA9B830}"/>
                </a:ext>
              </a:extLst>
            </p:cNvPr>
            <p:cNvSpPr/>
            <p:nvPr/>
          </p:nvSpPr>
          <p:spPr>
            <a:xfrm>
              <a:off x="1835138" y="1588542"/>
              <a:ext cx="694370" cy="694370"/>
            </a:xfrm>
            <a:prstGeom prst="donut">
              <a:avLst>
                <a:gd name="adj" fmla="val 4937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pic>
        <p:nvPicPr>
          <p:cNvPr id="106" name="Graphic 34" descr="Run">
            <a:extLst>
              <a:ext uri="{FF2B5EF4-FFF2-40B4-BE49-F238E27FC236}">
                <a16:creationId xmlns:a16="http://schemas.microsoft.com/office/drawing/2014/main" xmlns="" id="{9B443330-287F-4BE7-8A0B-3F11DEE4EE0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9307342" y="2637217"/>
            <a:ext cx="612000" cy="612000"/>
          </a:xfrm>
          <a:prstGeom prst="rect">
            <a:avLst/>
          </a:prstGeom>
        </p:spPr>
      </p:pic>
      <p:grpSp>
        <p:nvGrpSpPr>
          <p:cNvPr id="107" name="Group 71">
            <a:extLst>
              <a:ext uri="{FF2B5EF4-FFF2-40B4-BE49-F238E27FC236}">
                <a16:creationId xmlns:a16="http://schemas.microsoft.com/office/drawing/2014/main" xmlns="" id="{F6E8212B-09BE-4F16-AB44-3102054CB319}"/>
              </a:ext>
            </a:extLst>
          </p:cNvPr>
          <p:cNvGrpSpPr/>
          <p:nvPr/>
        </p:nvGrpSpPr>
        <p:grpSpPr>
          <a:xfrm>
            <a:off x="73299" y="4271646"/>
            <a:ext cx="612000" cy="612000"/>
            <a:chOff x="7014514" y="4919406"/>
            <a:chExt cx="1561299" cy="1399032"/>
          </a:xfrm>
        </p:grpSpPr>
        <p:pic>
          <p:nvPicPr>
            <p:cNvPr id="108" name="Graphic 35" descr="Run">
              <a:extLst>
                <a:ext uri="{FF2B5EF4-FFF2-40B4-BE49-F238E27FC236}">
                  <a16:creationId xmlns:a16="http://schemas.microsoft.com/office/drawing/2014/main" xmlns="" id="{45FBC0A8-05BC-4C24-85BB-245A15CCE7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176781" y="4919406"/>
              <a:ext cx="1399032" cy="1399032"/>
            </a:xfrm>
            <a:prstGeom prst="rect">
              <a:avLst/>
            </a:prstGeom>
          </p:spPr>
        </p:pic>
        <p:sp>
          <p:nvSpPr>
            <p:cNvPr id="109" name="Rectangle: Rounded Corners 36">
              <a:extLst>
                <a:ext uri="{FF2B5EF4-FFF2-40B4-BE49-F238E27FC236}">
                  <a16:creationId xmlns:a16="http://schemas.microsoft.com/office/drawing/2014/main" xmlns="" id="{6F8BA320-DAD2-45C6-8DCB-223294CE3FF8}"/>
                </a:ext>
              </a:extLst>
            </p:cNvPr>
            <p:cNvSpPr/>
            <p:nvPr/>
          </p:nvSpPr>
          <p:spPr>
            <a:xfrm>
              <a:off x="7014514" y="5415376"/>
              <a:ext cx="543339" cy="100842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0" name="Rectangle: Rounded Corners 37">
              <a:extLst>
                <a:ext uri="{FF2B5EF4-FFF2-40B4-BE49-F238E27FC236}">
                  <a16:creationId xmlns:a16="http://schemas.microsoft.com/office/drawing/2014/main" xmlns="" id="{D0BBBE19-D586-465E-A1E0-175444DCFDA1}"/>
                </a:ext>
              </a:extLst>
            </p:cNvPr>
            <p:cNvSpPr/>
            <p:nvPr/>
          </p:nvSpPr>
          <p:spPr>
            <a:xfrm>
              <a:off x="7290297" y="5276021"/>
              <a:ext cx="292396" cy="100842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11" name="Straight Connector 48">
            <a:extLst>
              <a:ext uri="{FF2B5EF4-FFF2-40B4-BE49-F238E27FC236}">
                <a16:creationId xmlns:a16="http://schemas.microsoft.com/office/drawing/2014/main" xmlns="" id="{15E6C7CE-0DCB-4A82-B08E-519AC3270B85}"/>
              </a:ext>
            </a:extLst>
          </p:cNvPr>
          <p:cNvCxnSpPr>
            <a:cxnSpLocks/>
            <a:stCxn id="105" idx="0"/>
            <a:endCxn id="112" idx="0"/>
          </p:cNvCxnSpPr>
          <p:nvPr/>
        </p:nvCxnSpPr>
        <p:spPr>
          <a:xfrm flipV="1">
            <a:off x="8728916" y="4647600"/>
            <a:ext cx="0" cy="360560"/>
          </a:xfrm>
          <a:prstGeom prst="line">
            <a:avLst/>
          </a:prstGeom>
          <a:ln w="19050"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Oval 49">
            <a:extLst>
              <a:ext uri="{FF2B5EF4-FFF2-40B4-BE49-F238E27FC236}">
                <a16:creationId xmlns:a16="http://schemas.microsoft.com/office/drawing/2014/main" xmlns="" id="{4CFE38F3-7830-46D8-95EE-69DB62ED465D}"/>
              </a:ext>
            </a:extLst>
          </p:cNvPr>
          <p:cNvSpPr/>
          <p:nvPr/>
        </p:nvSpPr>
        <p:spPr>
          <a:xfrm>
            <a:off x="8666796" y="4647600"/>
            <a:ext cx="124240" cy="124240"/>
          </a:xfrm>
          <a:prstGeom prst="ellipse">
            <a:avLst/>
          </a:prstGeom>
          <a:solidFill>
            <a:srgbClr val="00C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13" name="Straight Connector 48">
            <a:extLst>
              <a:ext uri="{FF2B5EF4-FFF2-40B4-BE49-F238E27FC236}">
                <a16:creationId xmlns:a16="http://schemas.microsoft.com/office/drawing/2014/main" xmlns="" id="{15E6C7CE-0DCB-4A82-B08E-519AC3270B85}"/>
              </a:ext>
            </a:extLst>
          </p:cNvPr>
          <p:cNvCxnSpPr>
            <a:cxnSpLocks/>
            <a:stCxn id="99" idx="0"/>
            <a:endCxn id="114" idx="4"/>
          </p:cNvCxnSpPr>
          <p:nvPr/>
        </p:nvCxnSpPr>
        <p:spPr>
          <a:xfrm flipV="1">
            <a:off x="1388870" y="1536031"/>
            <a:ext cx="0" cy="243327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Oval 49">
            <a:extLst>
              <a:ext uri="{FF2B5EF4-FFF2-40B4-BE49-F238E27FC236}">
                <a16:creationId xmlns:a16="http://schemas.microsoft.com/office/drawing/2014/main" xmlns="" id="{4CFE38F3-7830-46D8-95EE-69DB62ED465D}"/>
              </a:ext>
            </a:extLst>
          </p:cNvPr>
          <p:cNvSpPr/>
          <p:nvPr/>
        </p:nvSpPr>
        <p:spPr>
          <a:xfrm>
            <a:off x="1326750" y="1411791"/>
            <a:ext cx="124240" cy="12424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33654" y="908720"/>
            <a:ext cx="1666391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КО </a:t>
            </a:r>
            <a:r>
              <a:rPr lang="ru-RU" sz="1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уге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ініш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беру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4460199" y="1906624"/>
            <a:ext cx="428626" cy="428626"/>
            <a:chOff x="4983789" y="2199615"/>
            <a:chExt cx="428626" cy="428626"/>
          </a:xfrm>
          <a:solidFill>
            <a:srgbClr val="60C5CC"/>
          </a:solidFill>
        </p:grpSpPr>
        <p:sp>
          <p:nvSpPr>
            <p:cNvPr id="251" name="Oval 45">
              <a:extLst>
                <a:ext uri="{FF2B5EF4-FFF2-40B4-BE49-F238E27FC236}">
                  <a16:creationId xmlns:a16="http://schemas.microsoft.com/office/drawing/2014/main" xmlns="" id="{86694F26-80D5-467D-94C4-C9C860517F5F}"/>
                </a:ext>
              </a:extLst>
            </p:cNvPr>
            <p:cNvSpPr/>
            <p:nvPr/>
          </p:nvSpPr>
          <p:spPr>
            <a:xfrm>
              <a:off x="5006217" y="2222372"/>
              <a:ext cx="381600" cy="38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19" name="Oval 45">
              <a:extLst>
                <a:ext uri="{FF2B5EF4-FFF2-40B4-BE49-F238E27FC236}">
                  <a16:creationId xmlns:a16="http://schemas.microsoft.com/office/drawing/2014/main" xmlns="" id="{86694F26-80D5-467D-94C4-C9C860517F5F}"/>
                </a:ext>
              </a:extLst>
            </p:cNvPr>
            <p:cNvSpPr/>
            <p:nvPr/>
          </p:nvSpPr>
          <p:spPr>
            <a:xfrm>
              <a:off x="5102852" y="2318678"/>
              <a:ext cx="190500" cy="1905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20" name="Circle: Hollow 46">
              <a:extLst>
                <a:ext uri="{FF2B5EF4-FFF2-40B4-BE49-F238E27FC236}">
                  <a16:creationId xmlns:a16="http://schemas.microsoft.com/office/drawing/2014/main" xmlns="" id="{B0789B4A-0620-4211-9109-6DBE9A07FE51}"/>
                </a:ext>
              </a:extLst>
            </p:cNvPr>
            <p:cNvSpPr/>
            <p:nvPr/>
          </p:nvSpPr>
          <p:spPr>
            <a:xfrm>
              <a:off x="4983789" y="2199615"/>
              <a:ext cx="428626" cy="428626"/>
            </a:xfrm>
            <a:prstGeom prst="donut">
              <a:avLst>
                <a:gd name="adj" fmla="val 5281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122" name="Прямоугольник 121"/>
          <p:cNvSpPr/>
          <p:nvPr/>
        </p:nvSpPr>
        <p:spPr>
          <a:xfrm>
            <a:off x="7351735" y="908720"/>
            <a:ext cx="1666391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уалнаманы </a:t>
            </a:r>
            <a:r>
              <a:rPr lang="ru-RU" sz="14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ау</a:t>
            </a:r>
            <a:endParaRPr lang="ru-RU" sz="1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125" name="Группа 124"/>
          <p:cNvGrpSpPr/>
          <p:nvPr/>
        </p:nvGrpSpPr>
        <p:grpSpPr>
          <a:xfrm>
            <a:off x="7970618" y="1906624"/>
            <a:ext cx="428626" cy="428626"/>
            <a:chOff x="4983789" y="2199615"/>
            <a:chExt cx="428626" cy="428626"/>
          </a:xfrm>
          <a:solidFill>
            <a:srgbClr val="49B1CE"/>
          </a:solidFill>
        </p:grpSpPr>
        <p:sp>
          <p:nvSpPr>
            <p:cNvPr id="126" name="Oval 45">
              <a:extLst>
                <a:ext uri="{FF2B5EF4-FFF2-40B4-BE49-F238E27FC236}">
                  <a16:creationId xmlns:a16="http://schemas.microsoft.com/office/drawing/2014/main" xmlns="" id="{86694F26-80D5-467D-94C4-C9C860517F5F}"/>
                </a:ext>
              </a:extLst>
            </p:cNvPr>
            <p:cNvSpPr/>
            <p:nvPr/>
          </p:nvSpPr>
          <p:spPr>
            <a:xfrm>
              <a:off x="5102852" y="2318678"/>
              <a:ext cx="190500" cy="1905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27" name="Circle: Hollow 46">
              <a:extLst>
                <a:ext uri="{FF2B5EF4-FFF2-40B4-BE49-F238E27FC236}">
                  <a16:creationId xmlns:a16="http://schemas.microsoft.com/office/drawing/2014/main" xmlns="" id="{B0789B4A-0620-4211-9109-6DBE9A07FE51}"/>
                </a:ext>
              </a:extLst>
            </p:cNvPr>
            <p:cNvSpPr/>
            <p:nvPr/>
          </p:nvSpPr>
          <p:spPr>
            <a:xfrm>
              <a:off x="4983789" y="2199615"/>
              <a:ext cx="428626" cy="428626"/>
            </a:xfrm>
            <a:prstGeom prst="donut">
              <a:avLst>
                <a:gd name="adj" fmla="val 5281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134" name="Прямоугольник 133"/>
          <p:cNvSpPr/>
          <p:nvPr/>
        </p:nvSpPr>
        <p:spPr>
          <a:xfrm>
            <a:off x="5652963" y="2408980"/>
            <a:ext cx="1666391" cy="67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ткізушінің </a:t>
            </a:r>
            <a:r>
              <a:rPr lang="ru-RU" sz="1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лісім-шартқа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л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юы</a:t>
            </a:r>
            <a:endParaRPr lang="ru-RU" sz="1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5" name="Прямоугольник 134"/>
          <p:cNvSpPr/>
          <p:nvPr/>
        </p:nvSpPr>
        <p:spPr>
          <a:xfrm>
            <a:off x="2080291" y="2408980"/>
            <a:ext cx="1943714" cy="67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КО </a:t>
            </a:r>
            <a:r>
              <a:rPr lang="ru-RU" sz="1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кізу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уралы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лісімшарт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сасу</a:t>
            </a:r>
            <a:endParaRPr lang="ru-RU" sz="1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6" name="Прямоугольник 135"/>
          <p:cNvSpPr/>
          <p:nvPr/>
        </p:nvSpPr>
        <p:spPr>
          <a:xfrm>
            <a:off x="7600849" y="3973295"/>
            <a:ext cx="2256134" cy="67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ліктілік органы </a:t>
            </a:r>
            <a:r>
              <a:rPr lang="ru-RU" sz="1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миссиясының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ешім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былдауы</a:t>
            </a:r>
            <a:endParaRPr lang="ru-RU" sz="1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0" name="Прямоугольник 139"/>
          <p:cNvSpPr/>
          <p:nvPr/>
        </p:nvSpPr>
        <p:spPr>
          <a:xfrm>
            <a:off x="5652963" y="4175997"/>
            <a:ext cx="1618215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епті </a:t>
            </a:r>
            <a:r>
              <a:rPr lang="ru-RU" sz="1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лыптастыру</a:t>
            </a:r>
            <a:endParaRPr lang="ru-RU" sz="1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1" name="Прямоугольник 140"/>
          <p:cNvSpPr/>
          <p:nvPr/>
        </p:nvSpPr>
        <p:spPr>
          <a:xfrm>
            <a:off x="2969916" y="4353303"/>
            <a:ext cx="1618215" cy="2862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стел </a:t>
            </a:r>
            <a:r>
              <a:rPr lang="ru-RU" sz="1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удиті</a:t>
            </a:r>
            <a:endParaRPr lang="ru-RU" sz="1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2" name="Прямоугольник 141"/>
          <p:cNvSpPr/>
          <p:nvPr/>
        </p:nvSpPr>
        <p:spPr>
          <a:xfrm>
            <a:off x="2921229" y="6118535"/>
            <a:ext cx="1840173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ерификациялау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удиті</a:t>
            </a:r>
            <a:endParaRPr lang="ru-RU" sz="1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Полилиния 19"/>
          <p:cNvSpPr/>
          <p:nvPr/>
        </p:nvSpPr>
        <p:spPr>
          <a:xfrm>
            <a:off x="2029128" y="5053965"/>
            <a:ext cx="3757478" cy="260228"/>
          </a:xfrm>
          <a:custGeom>
            <a:avLst/>
            <a:gdLst>
              <a:gd name="connsiteX0" fmla="*/ 0 w 4152900"/>
              <a:gd name="connsiteY0" fmla="*/ 381000 h 381000"/>
              <a:gd name="connsiteX1" fmla="*/ 2070100 w 4152900"/>
              <a:gd name="connsiteY1" fmla="*/ 0 h 381000"/>
              <a:gd name="connsiteX2" fmla="*/ 4152900 w 4152900"/>
              <a:gd name="connsiteY2" fmla="*/ 381000 h 38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52900" h="381000">
                <a:moveTo>
                  <a:pt x="0" y="381000"/>
                </a:moveTo>
                <a:cubicBezTo>
                  <a:pt x="688975" y="190500"/>
                  <a:pt x="1377950" y="0"/>
                  <a:pt x="2070100" y="0"/>
                </a:cubicBezTo>
                <a:cubicBezTo>
                  <a:pt x="2762250" y="0"/>
                  <a:pt x="3822700" y="340783"/>
                  <a:pt x="4152900" y="381000"/>
                </a:cubicBezTo>
              </a:path>
            </a:pathLst>
          </a:custGeom>
          <a:noFill/>
          <a:ln w="76200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8" name="Полилиния 147"/>
          <p:cNvSpPr/>
          <p:nvPr/>
        </p:nvSpPr>
        <p:spPr>
          <a:xfrm flipV="1">
            <a:off x="2029128" y="5414205"/>
            <a:ext cx="3757478" cy="260228"/>
          </a:xfrm>
          <a:custGeom>
            <a:avLst/>
            <a:gdLst>
              <a:gd name="connsiteX0" fmla="*/ 0 w 4152900"/>
              <a:gd name="connsiteY0" fmla="*/ 381000 h 381000"/>
              <a:gd name="connsiteX1" fmla="*/ 2070100 w 4152900"/>
              <a:gd name="connsiteY1" fmla="*/ 0 h 381000"/>
              <a:gd name="connsiteX2" fmla="*/ 4152900 w 4152900"/>
              <a:gd name="connsiteY2" fmla="*/ 381000 h 38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52900" h="381000">
                <a:moveTo>
                  <a:pt x="0" y="381000"/>
                </a:moveTo>
                <a:cubicBezTo>
                  <a:pt x="688975" y="190500"/>
                  <a:pt x="1377950" y="0"/>
                  <a:pt x="2070100" y="0"/>
                </a:cubicBezTo>
                <a:cubicBezTo>
                  <a:pt x="2762250" y="0"/>
                  <a:pt x="3822700" y="340783"/>
                  <a:pt x="4152900" y="381000"/>
                </a:cubicBezTo>
              </a:path>
            </a:pathLst>
          </a:custGeom>
          <a:noFill/>
          <a:ln w="76200">
            <a:solidFill>
              <a:srgbClr val="E2E2E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5" name="Прямоугольник 154"/>
          <p:cNvSpPr/>
          <p:nvPr/>
        </p:nvSpPr>
        <p:spPr>
          <a:xfrm>
            <a:off x="3841315" y="908720"/>
            <a:ext cx="1666391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уалнаманы </a:t>
            </a:r>
            <a:r>
              <a:rPr lang="ru-RU" sz="14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олтыру</a:t>
            </a:r>
            <a:endParaRPr lang="ru-RU" sz="1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56" name="Straight Connector 48">
            <a:extLst>
              <a:ext uri="{FF2B5EF4-FFF2-40B4-BE49-F238E27FC236}">
                <a16:creationId xmlns:a16="http://schemas.microsoft.com/office/drawing/2014/main" xmlns="" id="{15E6C7CE-0DCB-4A82-B08E-519AC3270B85}"/>
              </a:ext>
            </a:extLst>
          </p:cNvPr>
          <p:cNvCxnSpPr>
            <a:cxnSpLocks/>
            <a:stCxn id="120" idx="0"/>
            <a:endCxn id="157" idx="4"/>
          </p:cNvCxnSpPr>
          <p:nvPr/>
        </p:nvCxnSpPr>
        <p:spPr>
          <a:xfrm flipH="1" flipV="1">
            <a:off x="4674510" y="1536031"/>
            <a:ext cx="2" cy="370593"/>
          </a:xfrm>
          <a:prstGeom prst="line">
            <a:avLst/>
          </a:prstGeom>
          <a:ln w="19050">
            <a:solidFill>
              <a:srgbClr val="60C5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Oval 49">
            <a:extLst>
              <a:ext uri="{FF2B5EF4-FFF2-40B4-BE49-F238E27FC236}">
                <a16:creationId xmlns:a16="http://schemas.microsoft.com/office/drawing/2014/main" xmlns="" id="{4CFE38F3-7830-46D8-95EE-69DB62ED465D}"/>
              </a:ext>
            </a:extLst>
          </p:cNvPr>
          <p:cNvSpPr/>
          <p:nvPr/>
        </p:nvSpPr>
        <p:spPr>
          <a:xfrm>
            <a:off x="4612390" y="1411791"/>
            <a:ext cx="124240" cy="124240"/>
          </a:xfrm>
          <a:prstGeom prst="ellipse">
            <a:avLst/>
          </a:prstGeom>
          <a:solidFill>
            <a:srgbClr val="60C5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63" name="Straight Connector 48">
            <a:extLst>
              <a:ext uri="{FF2B5EF4-FFF2-40B4-BE49-F238E27FC236}">
                <a16:creationId xmlns:a16="http://schemas.microsoft.com/office/drawing/2014/main" xmlns="" id="{15E6C7CE-0DCB-4A82-B08E-519AC3270B85}"/>
              </a:ext>
            </a:extLst>
          </p:cNvPr>
          <p:cNvCxnSpPr>
            <a:cxnSpLocks/>
            <a:stCxn id="127" idx="0"/>
            <a:endCxn id="164" idx="4"/>
          </p:cNvCxnSpPr>
          <p:nvPr/>
        </p:nvCxnSpPr>
        <p:spPr>
          <a:xfrm flipV="1">
            <a:off x="8184931" y="1536031"/>
            <a:ext cx="1336" cy="370593"/>
          </a:xfrm>
          <a:prstGeom prst="line">
            <a:avLst/>
          </a:prstGeom>
          <a:ln w="19050">
            <a:solidFill>
              <a:srgbClr val="49B1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Oval 49">
            <a:extLst>
              <a:ext uri="{FF2B5EF4-FFF2-40B4-BE49-F238E27FC236}">
                <a16:creationId xmlns:a16="http://schemas.microsoft.com/office/drawing/2014/main" xmlns="" id="{4CFE38F3-7830-46D8-95EE-69DB62ED465D}"/>
              </a:ext>
            </a:extLst>
          </p:cNvPr>
          <p:cNvSpPr/>
          <p:nvPr/>
        </p:nvSpPr>
        <p:spPr>
          <a:xfrm>
            <a:off x="8124147" y="1411791"/>
            <a:ext cx="124240" cy="124240"/>
          </a:xfrm>
          <a:prstGeom prst="ellipse">
            <a:avLst/>
          </a:prstGeom>
          <a:solidFill>
            <a:srgbClr val="49B1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65" name="Straight Connector 48">
            <a:extLst>
              <a:ext uri="{FF2B5EF4-FFF2-40B4-BE49-F238E27FC236}">
                <a16:creationId xmlns:a16="http://schemas.microsoft.com/office/drawing/2014/main" xmlns="" id="{15E6C7CE-0DCB-4A82-B08E-519AC3270B85}"/>
              </a:ext>
            </a:extLst>
          </p:cNvPr>
          <p:cNvCxnSpPr>
            <a:cxnSpLocks/>
            <a:stCxn id="130" idx="0"/>
            <a:endCxn id="166" idx="4"/>
          </p:cNvCxnSpPr>
          <p:nvPr/>
        </p:nvCxnSpPr>
        <p:spPr>
          <a:xfrm flipH="1" flipV="1">
            <a:off x="6486158" y="3207879"/>
            <a:ext cx="1430" cy="323448"/>
          </a:xfrm>
          <a:prstGeom prst="line">
            <a:avLst/>
          </a:prstGeom>
          <a:ln w="19050">
            <a:solidFill>
              <a:srgbClr val="1C7C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Oval 49">
            <a:extLst>
              <a:ext uri="{FF2B5EF4-FFF2-40B4-BE49-F238E27FC236}">
                <a16:creationId xmlns:a16="http://schemas.microsoft.com/office/drawing/2014/main" xmlns="" id="{4CFE38F3-7830-46D8-95EE-69DB62ED465D}"/>
              </a:ext>
            </a:extLst>
          </p:cNvPr>
          <p:cNvSpPr/>
          <p:nvPr/>
        </p:nvSpPr>
        <p:spPr>
          <a:xfrm>
            <a:off x="6424038" y="3083639"/>
            <a:ext cx="124240" cy="124240"/>
          </a:xfrm>
          <a:prstGeom prst="ellipse">
            <a:avLst/>
          </a:prstGeom>
          <a:solidFill>
            <a:srgbClr val="1C7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67" name="Straight Connector 48">
            <a:extLst>
              <a:ext uri="{FF2B5EF4-FFF2-40B4-BE49-F238E27FC236}">
                <a16:creationId xmlns:a16="http://schemas.microsoft.com/office/drawing/2014/main" xmlns="" id="{15E6C7CE-0DCB-4A82-B08E-519AC3270B85}"/>
              </a:ext>
            </a:extLst>
          </p:cNvPr>
          <p:cNvCxnSpPr>
            <a:cxnSpLocks/>
            <a:stCxn id="133" idx="0"/>
            <a:endCxn id="168" idx="4"/>
          </p:cNvCxnSpPr>
          <p:nvPr/>
        </p:nvCxnSpPr>
        <p:spPr>
          <a:xfrm flipV="1">
            <a:off x="3052148" y="3207879"/>
            <a:ext cx="0" cy="323448"/>
          </a:xfrm>
          <a:prstGeom prst="line">
            <a:avLst/>
          </a:prstGeom>
          <a:ln w="19050">
            <a:solidFill>
              <a:srgbClr val="186B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Oval 49">
            <a:extLst>
              <a:ext uri="{FF2B5EF4-FFF2-40B4-BE49-F238E27FC236}">
                <a16:creationId xmlns:a16="http://schemas.microsoft.com/office/drawing/2014/main" xmlns="" id="{4CFE38F3-7830-46D8-95EE-69DB62ED465D}"/>
              </a:ext>
            </a:extLst>
          </p:cNvPr>
          <p:cNvSpPr/>
          <p:nvPr/>
        </p:nvSpPr>
        <p:spPr>
          <a:xfrm>
            <a:off x="2990028" y="3083639"/>
            <a:ext cx="124240" cy="124240"/>
          </a:xfrm>
          <a:prstGeom prst="ellipse">
            <a:avLst/>
          </a:prstGeom>
          <a:solidFill>
            <a:srgbClr val="186B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69" name="Straight Connector 48">
            <a:extLst>
              <a:ext uri="{FF2B5EF4-FFF2-40B4-BE49-F238E27FC236}">
                <a16:creationId xmlns:a16="http://schemas.microsoft.com/office/drawing/2014/main" xmlns="" id="{15E6C7CE-0DCB-4A82-B08E-519AC3270B85}"/>
              </a:ext>
            </a:extLst>
          </p:cNvPr>
          <p:cNvCxnSpPr>
            <a:cxnSpLocks/>
            <a:stCxn id="151" idx="0"/>
            <a:endCxn id="170" idx="4"/>
          </p:cNvCxnSpPr>
          <p:nvPr/>
        </p:nvCxnSpPr>
        <p:spPr>
          <a:xfrm flipH="1" flipV="1">
            <a:off x="3841315" y="4679281"/>
            <a:ext cx="2" cy="237490"/>
          </a:xfrm>
          <a:prstGeom prst="line">
            <a:avLst/>
          </a:prstGeom>
          <a:ln w="12700">
            <a:solidFill>
              <a:srgbClr val="186B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Oval 49">
            <a:extLst>
              <a:ext uri="{FF2B5EF4-FFF2-40B4-BE49-F238E27FC236}">
                <a16:creationId xmlns:a16="http://schemas.microsoft.com/office/drawing/2014/main" xmlns="" id="{4CFE38F3-7830-46D8-95EE-69DB62ED465D}"/>
              </a:ext>
            </a:extLst>
          </p:cNvPr>
          <p:cNvSpPr/>
          <p:nvPr/>
        </p:nvSpPr>
        <p:spPr>
          <a:xfrm>
            <a:off x="3802743" y="4602138"/>
            <a:ext cx="77143" cy="77143"/>
          </a:xfrm>
          <a:prstGeom prst="ellipse">
            <a:avLst/>
          </a:prstGeom>
          <a:solidFill>
            <a:srgbClr val="186B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75" name="Straight Connector 48">
            <a:extLst>
              <a:ext uri="{FF2B5EF4-FFF2-40B4-BE49-F238E27FC236}">
                <a16:creationId xmlns:a16="http://schemas.microsoft.com/office/drawing/2014/main" xmlns="" id="{15E6C7CE-0DCB-4A82-B08E-519AC3270B85}"/>
              </a:ext>
            </a:extLst>
          </p:cNvPr>
          <p:cNvCxnSpPr>
            <a:cxnSpLocks/>
            <a:stCxn id="154" idx="4"/>
            <a:endCxn id="176" idx="0"/>
          </p:cNvCxnSpPr>
          <p:nvPr/>
        </p:nvCxnSpPr>
        <p:spPr>
          <a:xfrm flipH="1">
            <a:off x="3841315" y="5820811"/>
            <a:ext cx="2" cy="259152"/>
          </a:xfrm>
          <a:prstGeom prst="line">
            <a:avLst/>
          </a:prstGeom>
          <a:ln w="12700">
            <a:solidFill>
              <a:srgbClr val="186B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6" name="Oval 49">
            <a:extLst>
              <a:ext uri="{FF2B5EF4-FFF2-40B4-BE49-F238E27FC236}">
                <a16:creationId xmlns:a16="http://schemas.microsoft.com/office/drawing/2014/main" xmlns="" id="{4CFE38F3-7830-46D8-95EE-69DB62ED465D}"/>
              </a:ext>
            </a:extLst>
          </p:cNvPr>
          <p:cNvSpPr/>
          <p:nvPr/>
        </p:nvSpPr>
        <p:spPr>
          <a:xfrm>
            <a:off x="3802743" y="6079963"/>
            <a:ext cx="77143" cy="77143"/>
          </a:xfrm>
          <a:prstGeom prst="ellipse">
            <a:avLst/>
          </a:prstGeom>
          <a:solidFill>
            <a:srgbClr val="186B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80" name="Straight Connector 48">
            <a:extLst>
              <a:ext uri="{FF2B5EF4-FFF2-40B4-BE49-F238E27FC236}">
                <a16:creationId xmlns:a16="http://schemas.microsoft.com/office/drawing/2014/main" xmlns="" id="{15E6C7CE-0DCB-4A82-B08E-519AC3270B85}"/>
              </a:ext>
            </a:extLst>
          </p:cNvPr>
          <p:cNvCxnSpPr>
            <a:cxnSpLocks/>
            <a:stCxn id="139" idx="0"/>
            <a:endCxn id="181" idx="4"/>
          </p:cNvCxnSpPr>
          <p:nvPr/>
        </p:nvCxnSpPr>
        <p:spPr>
          <a:xfrm flipH="1" flipV="1">
            <a:off x="6486158" y="4778688"/>
            <a:ext cx="1430" cy="377343"/>
          </a:xfrm>
          <a:prstGeom prst="line">
            <a:avLst/>
          </a:prstGeom>
          <a:ln w="19050">
            <a:solidFill>
              <a:srgbClr val="173F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Oval 49">
            <a:extLst>
              <a:ext uri="{FF2B5EF4-FFF2-40B4-BE49-F238E27FC236}">
                <a16:creationId xmlns:a16="http://schemas.microsoft.com/office/drawing/2014/main" xmlns="" id="{4CFE38F3-7830-46D8-95EE-69DB62ED465D}"/>
              </a:ext>
            </a:extLst>
          </p:cNvPr>
          <p:cNvSpPr/>
          <p:nvPr/>
        </p:nvSpPr>
        <p:spPr>
          <a:xfrm>
            <a:off x="6424038" y="4654448"/>
            <a:ext cx="124240" cy="124240"/>
          </a:xfrm>
          <a:prstGeom prst="ellipse">
            <a:avLst/>
          </a:prstGeom>
          <a:solidFill>
            <a:srgbClr val="173F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5" name="Прямоугольник 184"/>
          <p:cNvSpPr/>
          <p:nvPr/>
        </p:nvSpPr>
        <p:spPr>
          <a:xfrm>
            <a:off x="796183" y="1396421"/>
            <a:ext cx="4796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1</a:t>
            </a:r>
            <a:endParaRPr lang="ru-RU" b="1" dirty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6" name="Прямоугольник 185"/>
          <p:cNvSpPr/>
          <p:nvPr/>
        </p:nvSpPr>
        <p:spPr>
          <a:xfrm>
            <a:off x="4081822" y="1396421"/>
            <a:ext cx="4796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 smtClean="0">
                <a:solidFill>
                  <a:srgbClr val="60C5CC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2</a:t>
            </a:r>
            <a:endParaRPr lang="ru-RU" b="1" dirty="0">
              <a:solidFill>
                <a:srgbClr val="60C5CC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7" name="Прямоугольник 186"/>
          <p:cNvSpPr/>
          <p:nvPr/>
        </p:nvSpPr>
        <p:spPr>
          <a:xfrm>
            <a:off x="7607270" y="1407325"/>
            <a:ext cx="4796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 smtClean="0">
                <a:solidFill>
                  <a:srgbClr val="49B1C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3</a:t>
            </a:r>
            <a:endParaRPr lang="ru-RU" b="1" dirty="0">
              <a:solidFill>
                <a:srgbClr val="49B1C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8" name="Прямоугольник 187"/>
          <p:cNvSpPr/>
          <p:nvPr/>
        </p:nvSpPr>
        <p:spPr>
          <a:xfrm>
            <a:off x="6557918" y="3096710"/>
            <a:ext cx="4796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 smtClean="0">
                <a:solidFill>
                  <a:srgbClr val="1C7CB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4</a:t>
            </a:r>
            <a:endParaRPr lang="ru-RU" b="1" dirty="0">
              <a:solidFill>
                <a:srgbClr val="1C7CBB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9" name="Прямоугольник 188"/>
          <p:cNvSpPr/>
          <p:nvPr/>
        </p:nvSpPr>
        <p:spPr>
          <a:xfrm>
            <a:off x="3125677" y="3091461"/>
            <a:ext cx="4796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 smtClean="0">
                <a:solidFill>
                  <a:srgbClr val="186BA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5</a:t>
            </a:r>
            <a:endParaRPr lang="ru-RU" b="1" dirty="0">
              <a:solidFill>
                <a:srgbClr val="186BA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0" name="Прямоугольник 189"/>
          <p:cNvSpPr/>
          <p:nvPr/>
        </p:nvSpPr>
        <p:spPr>
          <a:xfrm>
            <a:off x="3605296" y="5170679"/>
            <a:ext cx="4796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 smtClean="0">
                <a:solidFill>
                  <a:srgbClr val="235D8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6</a:t>
            </a:r>
            <a:endParaRPr lang="ru-RU" b="1" dirty="0">
              <a:solidFill>
                <a:srgbClr val="235D85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2" name="Прямоугольник 191"/>
          <p:cNvSpPr/>
          <p:nvPr/>
        </p:nvSpPr>
        <p:spPr>
          <a:xfrm>
            <a:off x="5940103" y="4826517"/>
            <a:ext cx="4796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 smtClean="0">
                <a:solidFill>
                  <a:srgbClr val="173F5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7</a:t>
            </a:r>
            <a:endParaRPr lang="ru-RU" b="1" dirty="0">
              <a:solidFill>
                <a:srgbClr val="173F5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3" name="Прямоугольник 192"/>
          <p:cNvSpPr/>
          <p:nvPr/>
        </p:nvSpPr>
        <p:spPr>
          <a:xfrm>
            <a:off x="8124147" y="4698980"/>
            <a:ext cx="4796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 smtClean="0">
                <a:solidFill>
                  <a:srgbClr val="00CC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8</a:t>
            </a:r>
            <a:endParaRPr lang="ru-RU" b="1" dirty="0">
              <a:solidFill>
                <a:srgbClr val="00CC6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98" name="Прямая со стрелкой 197"/>
          <p:cNvCxnSpPr/>
          <p:nvPr/>
        </p:nvCxnSpPr>
        <p:spPr>
          <a:xfrm>
            <a:off x="5044357" y="1906624"/>
            <a:ext cx="2777226" cy="0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9" name="Прямоугольник 198"/>
          <p:cNvSpPr/>
          <p:nvPr/>
        </p:nvSpPr>
        <p:spPr>
          <a:xfrm>
            <a:off x="6056096" y="1773877"/>
            <a:ext cx="612000" cy="23775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050" i="1" dirty="0" smtClean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 </a:t>
            </a:r>
            <a:r>
              <a:rPr lang="kk-KZ" sz="1050" i="1" dirty="0" smtClean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/к</a:t>
            </a:r>
            <a:endParaRPr lang="ru-RU" sz="1050" i="1" dirty="0">
              <a:solidFill>
                <a:schemeClr val="accent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6" name="Дуга 205"/>
          <p:cNvSpPr/>
          <p:nvPr/>
        </p:nvSpPr>
        <p:spPr>
          <a:xfrm>
            <a:off x="7707568" y="2337763"/>
            <a:ext cx="1310558" cy="1210909"/>
          </a:xfrm>
          <a:prstGeom prst="arc">
            <a:avLst>
              <a:gd name="adj1" fmla="val 16200000"/>
              <a:gd name="adj2" fmla="val 5400664"/>
            </a:avLst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07" name="Прямая со стрелкой 206"/>
          <p:cNvCxnSpPr/>
          <p:nvPr/>
        </p:nvCxnSpPr>
        <p:spPr>
          <a:xfrm flipH="1" flipV="1">
            <a:off x="6803369" y="3548214"/>
            <a:ext cx="1581038" cy="0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Прямоугольник 209"/>
          <p:cNvSpPr/>
          <p:nvPr/>
        </p:nvSpPr>
        <p:spPr>
          <a:xfrm>
            <a:off x="8327666" y="2817219"/>
            <a:ext cx="612000" cy="23775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50" i="1" dirty="0" smtClean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</a:t>
            </a:r>
            <a:r>
              <a:rPr lang="en-US" sz="1050" i="1" dirty="0" smtClean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kk-KZ" sz="1050" i="1" dirty="0" smtClean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/к</a:t>
            </a:r>
            <a:endParaRPr lang="ru-RU" sz="1050" i="1" dirty="0">
              <a:solidFill>
                <a:schemeClr val="accent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11" name="Прямая со стрелкой 210"/>
          <p:cNvCxnSpPr/>
          <p:nvPr/>
        </p:nvCxnSpPr>
        <p:spPr>
          <a:xfrm flipH="1">
            <a:off x="3425719" y="3548214"/>
            <a:ext cx="2777226" cy="0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Прямоугольник 211"/>
          <p:cNvSpPr/>
          <p:nvPr/>
        </p:nvSpPr>
        <p:spPr>
          <a:xfrm>
            <a:off x="4406858" y="3412364"/>
            <a:ext cx="673200" cy="23792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50" i="1" dirty="0" smtClean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-3</a:t>
            </a:r>
            <a:r>
              <a:rPr lang="en-US" sz="1050" i="1" dirty="0" smtClean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kk-KZ" sz="1050" i="1" dirty="0" smtClean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/к</a:t>
            </a:r>
            <a:endParaRPr lang="ru-RU" sz="1050" i="1" dirty="0">
              <a:solidFill>
                <a:schemeClr val="accent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3" name="Дуга 212"/>
          <p:cNvSpPr/>
          <p:nvPr/>
        </p:nvSpPr>
        <p:spPr>
          <a:xfrm flipH="1">
            <a:off x="1087544" y="3944750"/>
            <a:ext cx="1310558" cy="1210909"/>
          </a:xfrm>
          <a:prstGeom prst="arc">
            <a:avLst>
              <a:gd name="adj1" fmla="val 16200000"/>
              <a:gd name="adj2" fmla="val 5400664"/>
            </a:avLst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14" name="Прямая со стрелкой 213"/>
          <p:cNvCxnSpPr/>
          <p:nvPr/>
        </p:nvCxnSpPr>
        <p:spPr>
          <a:xfrm>
            <a:off x="1736055" y="5155659"/>
            <a:ext cx="344236" cy="0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5" name="Группа 254"/>
          <p:cNvGrpSpPr/>
          <p:nvPr/>
        </p:nvGrpSpPr>
        <p:grpSpPr>
          <a:xfrm>
            <a:off x="6273275" y="3531327"/>
            <a:ext cx="428626" cy="428626"/>
            <a:chOff x="6273275" y="3531327"/>
            <a:chExt cx="428626" cy="428626"/>
          </a:xfrm>
        </p:grpSpPr>
        <p:sp>
          <p:nvSpPr>
            <p:cNvPr id="254" name="Oval 45">
              <a:extLst>
                <a:ext uri="{FF2B5EF4-FFF2-40B4-BE49-F238E27FC236}">
                  <a16:creationId xmlns:a16="http://schemas.microsoft.com/office/drawing/2014/main" xmlns="" id="{86694F26-80D5-467D-94C4-C9C860517F5F}"/>
                </a:ext>
              </a:extLst>
            </p:cNvPr>
            <p:cNvSpPr/>
            <p:nvPr/>
          </p:nvSpPr>
          <p:spPr>
            <a:xfrm>
              <a:off x="6295358" y="3549912"/>
              <a:ext cx="381600" cy="38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128" name="Группа 127"/>
            <p:cNvGrpSpPr/>
            <p:nvPr/>
          </p:nvGrpSpPr>
          <p:grpSpPr>
            <a:xfrm>
              <a:off x="6273275" y="3531327"/>
              <a:ext cx="428626" cy="428626"/>
              <a:chOff x="4983789" y="2199615"/>
              <a:chExt cx="428626" cy="428626"/>
            </a:xfrm>
            <a:solidFill>
              <a:srgbClr val="1C7CBB"/>
            </a:solidFill>
          </p:grpSpPr>
          <p:sp>
            <p:nvSpPr>
              <p:cNvPr id="129" name="Oval 45">
                <a:extLst>
                  <a:ext uri="{FF2B5EF4-FFF2-40B4-BE49-F238E27FC236}">
                    <a16:creationId xmlns:a16="http://schemas.microsoft.com/office/drawing/2014/main" xmlns="" id="{86694F26-80D5-467D-94C4-C9C860517F5F}"/>
                  </a:ext>
                </a:extLst>
              </p:cNvPr>
              <p:cNvSpPr/>
              <p:nvPr/>
            </p:nvSpPr>
            <p:spPr>
              <a:xfrm>
                <a:off x="5102852" y="2318678"/>
                <a:ext cx="190500" cy="1905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30" name="Circle: Hollow 46">
                <a:extLst>
                  <a:ext uri="{FF2B5EF4-FFF2-40B4-BE49-F238E27FC236}">
                    <a16:creationId xmlns:a16="http://schemas.microsoft.com/office/drawing/2014/main" xmlns="" id="{B0789B4A-0620-4211-9109-6DBE9A07FE51}"/>
                  </a:ext>
                </a:extLst>
              </p:cNvPr>
              <p:cNvSpPr/>
              <p:nvPr/>
            </p:nvSpPr>
            <p:spPr>
              <a:xfrm>
                <a:off x="4983789" y="2199615"/>
                <a:ext cx="428626" cy="428626"/>
              </a:xfrm>
              <a:prstGeom prst="donut">
                <a:avLst>
                  <a:gd name="adj" fmla="val 528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</p:grpSp>
      <p:sp>
        <p:nvSpPr>
          <p:cNvPr id="218" name="Прямоугольник 217"/>
          <p:cNvSpPr/>
          <p:nvPr/>
        </p:nvSpPr>
        <p:spPr>
          <a:xfrm>
            <a:off x="1188938" y="4438270"/>
            <a:ext cx="646479" cy="23775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50" i="1" dirty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-3</a:t>
            </a:r>
            <a:r>
              <a:rPr lang="en-US" sz="1050" i="1" dirty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kk-KZ" sz="1050" i="1" dirty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/к</a:t>
            </a:r>
            <a:endParaRPr lang="ru-RU" sz="1050" i="1" dirty="0">
              <a:solidFill>
                <a:schemeClr val="accent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19" name="Прямая со стрелкой 218"/>
          <p:cNvCxnSpPr/>
          <p:nvPr/>
        </p:nvCxnSpPr>
        <p:spPr>
          <a:xfrm>
            <a:off x="1736055" y="3944750"/>
            <a:ext cx="1077726" cy="0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1" name="Graphic 32" descr="Walk">
            <a:extLst>
              <a:ext uri="{FF2B5EF4-FFF2-40B4-BE49-F238E27FC236}">
                <a16:creationId xmlns:a16="http://schemas.microsoft.com/office/drawing/2014/main" xmlns="" id="{DCDCF65B-3F3A-480B-BB76-B877BECE565A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86251" y="1378024"/>
            <a:ext cx="612000" cy="612000"/>
          </a:xfrm>
          <a:prstGeom prst="rect">
            <a:avLst/>
          </a:prstGeom>
        </p:spPr>
      </p:pic>
      <p:sp>
        <p:nvSpPr>
          <p:cNvPr id="232" name="Полилиния 231"/>
          <p:cNvSpPr/>
          <p:nvPr/>
        </p:nvSpPr>
        <p:spPr>
          <a:xfrm>
            <a:off x="3994913" y="4900613"/>
            <a:ext cx="2038350" cy="300037"/>
          </a:xfrm>
          <a:custGeom>
            <a:avLst/>
            <a:gdLst>
              <a:gd name="connsiteX0" fmla="*/ 0 w 2038350"/>
              <a:gd name="connsiteY0" fmla="*/ 0 h 300037"/>
              <a:gd name="connsiteX1" fmla="*/ 652462 w 2038350"/>
              <a:gd name="connsiteY1" fmla="*/ 66675 h 300037"/>
              <a:gd name="connsiteX2" fmla="*/ 1228725 w 2038350"/>
              <a:gd name="connsiteY2" fmla="*/ 166687 h 300037"/>
              <a:gd name="connsiteX3" fmla="*/ 1662112 w 2038350"/>
              <a:gd name="connsiteY3" fmla="*/ 271462 h 300037"/>
              <a:gd name="connsiteX4" fmla="*/ 2038350 w 2038350"/>
              <a:gd name="connsiteY4" fmla="*/ 300037 h 300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8350" h="300037">
                <a:moveTo>
                  <a:pt x="0" y="0"/>
                </a:moveTo>
                <a:cubicBezTo>
                  <a:pt x="223837" y="19447"/>
                  <a:pt x="447675" y="38894"/>
                  <a:pt x="652462" y="66675"/>
                </a:cubicBezTo>
                <a:cubicBezTo>
                  <a:pt x="857249" y="94456"/>
                  <a:pt x="1060450" y="132556"/>
                  <a:pt x="1228725" y="166687"/>
                </a:cubicBezTo>
                <a:cubicBezTo>
                  <a:pt x="1397000" y="200818"/>
                  <a:pt x="1527174" y="249237"/>
                  <a:pt x="1662112" y="271462"/>
                </a:cubicBezTo>
                <a:cubicBezTo>
                  <a:pt x="1797050" y="293687"/>
                  <a:pt x="1967706" y="297656"/>
                  <a:pt x="2038350" y="300037"/>
                </a:cubicBezTo>
              </a:path>
            </a:pathLst>
          </a:custGeom>
          <a:noFill/>
          <a:ln w="9525">
            <a:solidFill>
              <a:schemeClr val="bg2">
                <a:lumMod val="50000"/>
              </a:schemeClr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3" name="Прямоугольник 232"/>
          <p:cNvSpPr/>
          <p:nvPr/>
        </p:nvSpPr>
        <p:spPr>
          <a:xfrm>
            <a:off x="4728547" y="4847012"/>
            <a:ext cx="673200" cy="23792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50" i="1" dirty="0" smtClean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-6</a:t>
            </a:r>
            <a:r>
              <a:rPr lang="en-US" sz="1050" i="1" dirty="0" smtClean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kk-KZ" sz="1050" i="1" dirty="0" smtClean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/к</a:t>
            </a:r>
            <a:endParaRPr lang="ru-RU" sz="1050" i="1" dirty="0">
              <a:solidFill>
                <a:schemeClr val="accent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4" name="Полилиния 233"/>
          <p:cNvSpPr/>
          <p:nvPr/>
        </p:nvSpPr>
        <p:spPr>
          <a:xfrm flipV="1">
            <a:off x="3994913" y="5571228"/>
            <a:ext cx="2038350" cy="300037"/>
          </a:xfrm>
          <a:custGeom>
            <a:avLst/>
            <a:gdLst>
              <a:gd name="connsiteX0" fmla="*/ 0 w 2038350"/>
              <a:gd name="connsiteY0" fmla="*/ 0 h 300037"/>
              <a:gd name="connsiteX1" fmla="*/ 652462 w 2038350"/>
              <a:gd name="connsiteY1" fmla="*/ 66675 h 300037"/>
              <a:gd name="connsiteX2" fmla="*/ 1228725 w 2038350"/>
              <a:gd name="connsiteY2" fmla="*/ 166687 h 300037"/>
              <a:gd name="connsiteX3" fmla="*/ 1662112 w 2038350"/>
              <a:gd name="connsiteY3" fmla="*/ 271462 h 300037"/>
              <a:gd name="connsiteX4" fmla="*/ 2038350 w 2038350"/>
              <a:gd name="connsiteY4" fmla="*/ 300037 h 300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8350" h="300037">
                <a:moveTo>
                  <a:pt x="0" y="0"/>
                </a:moveTo>
                <a:cubicBezTo>
                  <a:pt x="223837" y="19447"/>
                  <a:pt x="447675" y="38894"/>
                  <a:pt x="652462" y="66675"/>
                </a:cubicBezTo>
                <a:cubicBezTo>
                  <a:pt x="857249" y="94456"/>
                  <a:pt x="1060450" y="132556"/>
                  <a:pt x="1228725" y="166687"/>
                </a:cubicBezTo>
                <a:cubicBezTo>
                  <a:pt x="1397000" y="200818"/>
                  <a:pt x="1527174" y="249237"/>
                  <a:pt x="1662112" y="271462"/>
                </a:cubicBezTo>
                <a:cubicBezTo>
                  <a:pt x="1797050" y="293687"/>
                  <a:pt x="1967706" y="297656"/>
                  <a:pt x="2038350" y="300037"/>
                </a:cubicBezTo>
              </a:path>
            </a:pathLst>
          </a:custGeom>
          <a:noFill/>
          <a:ln w="9525">
            <a:solidFill>
              <a:schemeClr val="bg2">
                <a:lumMod val="50000"/>
              </a:schemeClr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5" name="Прямоугольник 234"/>
          <p:cNvSpPr/>
          <p:nvPr/>
        </p:nvSpPr>
        <p:spPr>
          <a:xfrm>
            <a:off x="4694887" y="5674432"/>
            <a:ext cx="740520" cy="21629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50" i="1" dirty="0" smtClean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-12</a:t>
            </a:r>
            <a:r>
              <a:rPr lang="en-US" sz="1050" i="1" dirty="0" smtClean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kk-KZ" sz="1050" i="1" dirty="0" smtClean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/к</a:t>
            </a:r>
            <a:endParaRPr lang="ru-RU" sz="1050" i="1" dirty="0">
              <a:solidFill>
                <a:schemeClr val="accent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36" name="Прямая со стрелкой 235"/>
          <p:cNvCxnSpPr/>
          <p:nvPr/>
        </p:nvCxnSpPr>
        <p:spPr>
          <a:xfrm>
            <a:off x="6824445" y="5584657"/>
            <a:ext cx="1425156" cy="0"/>
          </a:xfrm>
          <a:prstGeom prst="straightConnector1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7" name="Прямоугольник 236"/>
          <p:cNvSpPr/>
          <p:nvPr/>
        </p:nvSpPr>
        <p:spPr>
          <a:xfrm>
            <a:off x="7179100" y="5456289"/>
            <a:ext cx="740520" cy="23792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50" i="1" dirty="0" smtClean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+5</a:t>
            </a:r>
            <a:r>
              <a:rPr lang="en-US" sz="1050" i="1" dirty="0" smtClean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kk-KZ" sz="1050" i="1" dirty="0" smtClean="0">
                <a:solidFill>
                  <a:schemeClr val="accent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/к</a:t>
            </a:r>
            <a:endParaRPr lang="ru-RU" sz="1050" i="1" dirty="0">
              <a:solidFill>
                <a:schemeClr val="accent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241" name="Группа 240"/>
          <p:cNvGrpSpPr/>
          <p:nvPr/>
        </p:nvGrpSpPr>
        <p:grpSpPr>
          <a:xfrm>
            <a:off x="10089026" y="871716"/>
            <a:ext cx="2030910" cy="5926420"/>
            <a:chOff x="5084357" y="1967287"/>
            <a:chExt cx="2030910" cy="3477937"/>
          </a:xfrm>
        </p:grpSpPr>
        <p:sp>
          <p:nvSpPr>
            <p:cNvPr id="242" name="Прямоугольник 241"/>
            <p:cNvSpPr/>
            <p:nvPr/>
          </p:nvSpPr>
          <p:spPr>
            <a:xfrm>
              <a:off x="5084357" y="1967287"/>
              <a:ext cx="2030910" cy="3477937"/>
            </a:xfrm>
            <a:prstGeom prst="rect">
              <a:avLst/>
            </a:prstGeom>
            <a:solidFill>
              <a:srgbClr val="1B6893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ru-RU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43" name="Прямоугольник 242"/>
            <p:cNvSpPr/>
            <p:nvPr/>
          </p:nvSpPr>
          <p:spPr>
            <a:xfrm>
              <a:off x="5157175" y="2010225"/>
              <a:ext cx="1891158" cy="339206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ru-RU" sz="1200" dirty="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247" name="Прямоугольник 246"/>
          <p:cNvSpPr/>
          <p:nvPr/>
        </p:nvSpPr>
        <p:spPr>
          <a:xfrm>
            <a:off x="10119447" y="1332252"/>
            <a:ext cx="1976077" cy="54476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1B6893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КО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у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цесі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гін</a:t>
            </a:r>
            <a:endParaRPr lang="ru-RU" sz="12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Clr>
                <a:srgbClr val="1B6893"/>
              </a:buClr>
              <a:buFont typeface="Wingdings" panose="05000000000000000000" pitchFamily="2" charset="2"/>
              <a:buChar char="§"/>
            </a:pPr>
            <a:endParaRPr lang="ru-RU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Clr>
                <a:srgbClr val="1B6893"/>
              </a:buClr>
              <a:buFont typeface="Wingdings" panose="05000000000000000000" pitchFamily="2" charset="2"/>
              <a:buChar char="§"/>
            </a:pPr>
            <a:r>
              <a:rPr lang="ru-RU" sz="1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у</a:t>
            </a:r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рзімі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5-24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месе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2-29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/к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райды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аудит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әсіліне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йлынсты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  <a:p>
            <a:pPr marL="171450" indent="-171450">
              <a:buClr>
                <a:srgbClr val="1B6893"/>
              </a:buClr>
              <a:buFont typeface="Wingdings" panose="05000000000000000000" pitchFamily="2" charset="2"/>
              <a:buChar char="§"/>
            </a:pPr>
            <a:endParaRPr lang="ru-RU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Clr>
                <a:srgbClr val="1B6893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КО </a:t>
            </a:r>
            <a:r>
              <a:rPr lang="ru-RU" sz="1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әтижесі</a:t>
            </a:r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КПП </a:t>
            </a:r>
            <a:r>
              <a:rPr lang="ru-RU" sz="1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естріне</a:t>
            </a:r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гізілген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үннен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стап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 </a:t>
            </a:r>
            <a:r>
              <a:rPr lang="ru-RU" sz="12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</a:t>
            </a:r>
            <a:r>
              <a:rPr 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йы</a:t>
            </a:r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рамды</a:t>
            </a:r>
            <a:endParaRPr lang="ru-RU" sz="12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Clr>
                <a:srgbClr val="1B6893"/>
              </a:buClr>
              <a:buFont typeface="Wingdings" panose="05000000000000000000" pitchFamily="2" charset="2"/>
              <a:buChar char="§"/>
            </a:pPr>
            <a:endParaRPr lang="ru-RU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Clr>
                <a:srgbClr val="1B6893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КО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кен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ткізушілер</a:t>
            </a:r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тып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уға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тысу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зінде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ндерлік</a:t>
            </a:r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інімді</a:t>
            </a:r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мтамасыз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туден</a:t>
            </a:r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сатылады</a:t>
            </a:r>
            <a:endParaRPr lang="ru-RU" sz="12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Clr>
                <a:srgbClr val="1B6893"/>
              </a:buClr>
              <a:buFont typeface="Wingdings" panose="05000000000000000000" pitchFamily="2" charset="2"/>
              <a:buChar char="§"/>
            </a:pPr>
            <a:endParaRPr lang="kk-KZ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Clr>
                <a:srgbClr val="1B6893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КО </a:t>
            </a:r>
            <a:r>
              <a:rPr lang="ru-RU" sz="1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кен</a:t>
            </a:r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ткізушілер</a:t>
            </a:r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ліктілік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итерийлеріне</a:t>
            </a:r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әйкестігіне</a:t>
            </a:r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ына</a:t>
            </a:r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</a:t>
            </a:r>
            <a:r>
              <a:rPr lang="ru-RU" sz="12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т</a:t>
            </a:r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ксеріледі</a:t>
            </a:r>
            <a:endParaRPr lang="ru-RU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Clr>
                <a:srgbClr val="1B6893"/>
              </a:buClr>
              <a:buFont typeface="Wingdings" panose="05000000000000000000" pitchFamily="2" charset="2"/>
              <a:buChar char="§"/>
            </a:pPr>
            <a:endParaRPr lang="kk-KZ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Clr>
                <a:srgbClr val="1B6893"/>
              </a:buClr>
              <a:buFont typeface="Wingdings" panose="05000000000000000000" pitchFamily="2" charset="2"/>
              <a:buChar char="§"/>
            </a:pPr>
            <a:r>
              <a:rPr lang="kk-KZ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удиторлық топтың құрамына </a:t>
            </a:r>
            <a:r>
              <a:rPr 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ru-RU" sz="12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тамекен</a:t>
            </a:r>
            <a:r>
              <a:rPr lang="ru-RU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</a:t>
            </a:r>
            <a:r>
              <a:rPr lang="kk-KZ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ҰКП </a:t>
            </a:r>
            <a:r>
              <a:rPr lang="kk-KZ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кілдері кіреді</a:t>
            </a: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8" name="Прямоугольник с двумя скругленными противолежащими углами 247"/>
          <p:cNvSpPr/>
          <p:nvPr/>
        </p:nvSpPr>
        <p:spPr>
          <a:xfrm>
            <a:off x="10254127" y="1007016"/>
            <a:ext cx="1691180" cy="305350"/>
          </a:xfrm>
          <a:prstGeom prst="round2DiagRect">
            <a:avLst>
              <a:gd name="adj1" fmla="val 12699"/>
              <a:gd name="adj2" fmla="val 0"/>
            </a:avLst>
          </a:prstGeom>
          <a:solidFill>
            <a:srgbClr val="1B689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kk-KZ" sz="1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РЕКШЕЛІКТЕР</a:t>
            </a:r>
            <a:endParaRPr lang="ru-RU" sz="1400" b="1" dirty="0" smtClean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258" name="Группа 257"/>
          <p:cNvGrpSpPr/>
          <p:nvPr/>
        </p:nvGrpSpPr>
        <p:grpSpPr>
          <a:xfrm>
            <a:off x="2837835" y="3531327"/>
            <a:ext cx="428626" cy="428626"/>
            <a:chOff x="2837835" y="3531327"/>
            <a:chExt cx="428626" cy="428626"/>
          </a:xfrm>
        </p:grpSpPr>
        <p:sp>
          <p:nvSpPr>
            <p:cNvPr id="257" name="Oval 45">
              <a:extLst>
                <a:ext uri="{FF2B5EF4-FFF2-40B4-BE49-F238E27FC236}">
                  <a16:creationId xmlns:a16="http://schemas.microsoft.com/office/drawing/2014/main" xmlns="" id="{86694F26-80D5-467D-94C4-C9C860517F5F}"/>
                </a:ext>
              </a:extLst>
            </p:cNvPr>
            <p:cNvSpPr/>
            <p:nvPr/>
          </p:nvSpPr>
          <p:spPr>
            <a:xfrm>
              <a:off x="2863463" y="3557273"/>
              <a:ext cx="381600" cy="38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131" name="Группа 130"/>
            <p:cNvGrpSpPr/>
            <p:nvPr/>
          </p:nvGrpSpPr>
          <p:grpSpPr>
            <a:xfrm>
              <a:off x="2837835" y="3531327"/>
              <a:ext cx="428626" cy="428626"/>
              <a:chOff x="4983789" y="2199615"/>
              <a:chExt cx="428626" cy="428626"/>
            </a:xfrm>
            <a:solidFill>
              <a:srgbClr val="186BA4"/>
            </a:solidFill>
          </p:grpSpPr>
          <p:sp>
            <p:nvSpPr>
              <p:cNvPr id="132" name="Oval 45">
                <a:extLst>
                  <a:ext uri="{FF2B5EF4-FFF2-40B4-BE49-F238E27FC236}">
                    <a16:creationId xmlns:a16="http://schemas.microsoft.com/office/drawing/2014/main" xmlns="" id="{86694F26-80D5-467D-94C4-C9C860517F5F}"/>
                  </a:ext>
                </a:extLst>
              </p:cNvPr>
              <p:cNvSpPr/>
              <p:nvPr/>
            </p:nvSpPr>
            <p:spPr>
              <a:xfrm>
                <a:off x="5102852" y="2318678"/>
                <a:ext cx="190500" cy="1905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33" name="Circle: Hollow 46">
                <a:extLst>
                  <a:ext uri="{FF2B5EF4-FFF2-40B4-BE49-F238E27FC236}">
                    <a16:creationId xmlns:a16="http://schemas.microsoft.com/office/drawing/2014/main" xmlns="" id="{B0789B4A-0620-4211-9109-6DBE9A07FE51}"/>
                  </a:ext>
                </a:extLst>
              </p:cNvPr>
              <p:cNvSpPr/>
              <p:nvPr/>
            </p:nvSpPr>
            <p:spPr>
              <a:xfrm>
                <a:off x="4983789" y="2199615"/>
                <a:ext cx="428626" cy="428626"/>
              </a:xfrm>
              <a:prstGeom prst="donut">
                <a:avLst>
                  <a:gd name="adj" fmla="val 528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</p:grpSp>
      <p:grpSp>
        <p:nvGrpSpPr>
          <p:cNvPr id="260" name="Группа 259"/>
          <p:cNvGrpSpPr/>
          <p:nvPr/>
        </p:nvGrpSpPr>
        <p:grpSpPr>
          <a:xfrm>
            <a:off x="6273275" y="5156031"/>
            <a:ext cx="428626" cy="428626"/>
            <a:chOff x="6273275" y="5156031"/>
            <a:chExt cx="428626" cy="428626"/>
          </a:xfrm>
        </p:grpSpPr>
        <p:sp>
          <p:nvSpPr>
            <p:cNvPr id="259" name="Oval 45">
              <a:extLst>
                <a:ext uri="{FF2B5EF4-FFF2-40B4-BE49-F238E27FC236}">
                  <a16:creationId xmlns:a16="http://schemas.microsoft.com/office/drawing/2014/main" xmlns="" id="{86694F26-80D5-467D-94C4-C9C860517F5F}"/>
                </a:ext>
              </a:extLst>
            </p:cNvPr>
            <p:cNvSpPr/>
            <p:nvPr/>
          </p:nvSpPr>
          <p:spPr>
            <a:xfrm>
              <a:off x="6297015" y="5181356"/>
              <a:ext cx="381600" cy="38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137" name="Группа 136"/>
            <p:cNvGrpSpPr/>
            <p:nvPr/>
          </p:nvGrpSpPr>
          <p:grpSpPr>
            <a:xfrm>
              <a:off x="6273275" y="5156031"/>
              <a:ext cx="428626" cy="428626"/>
              <a:chOff x="4983789" y="2199615"/>
              <a:chExt cx="428626" cy="428626"/>
            </a:xfrm>
            <a:solidFill>
              <a:srgbClr val="173F59"/>
            </a:solidFill>
          </p:grpSpPr>
          <p:sp>
            <p:nvSpPr>
              <p:cNvPr id="138" name="Oval 45">
                <a:extLst>
                  <a:ext uri="{FF2B5EF4-FFF2-40B4-BE49-F238E27FC236}">
                    <a16:creationId xmlns:a16="http://schemas.microsoft.com/office/drawing/2014/main" xmlns="" id="{86694F26-80D5-467D-94C4-C9C860517F5F}"/>
                  </a:ext>
                </a:extLst>
              </p:cNvPr>
              <p:cNvSpPr/>
              <p:nvPr/>
            </p:nvSpPr>
            <p:spPr>
              <a:xfrm>
                <a:off x="5102852" y="2318678"/>
                <a:ext cx="190500" cy="1905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39" name="Circle: Hollow 46">
                <a:extLst>
                  <a:ext uri="{FF2B5EF4-FFF2-40B4-BE49-F238E27FC236}">
                    <a16:creationId xmlns:a16="http://schemas.microsoft.com/office/drawing/2014/main" xmlns="" id="{B0789B4A-0620-4211-9109-6DBE9A07FE51}"/>
                  </a:ext>
                </a:extLst>
              </p:cNvPr>
              <p:cNvSpPr/>
              <p:nvPr/>
            </p:nvSpPr>
            <p:spPr>
              <a:xfrm>
                <a:off x="4983789" y="2199615"/>
                <a:ext cx="428626" cy="428626"/>
              </a:xfrm>
              <a:prstGeom prst="donut">
                <a:avLst>
                  <a:gd name="adj" fmla="val 528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</p:grpSp>
      <p:grpSp>
        <p:nvGrpSpPr>
          <p:cNvPr id="262" name="Группа 261"/>
          <p:cNvGrpSpPr/>
          <p:nvPr/>
        </p:nvGrpSpPr>
        <p:grpSpPr>
          <a:xfrm>
            <a:off x="3694938" y="4916771"/>
            <a:ext cx="292757" cy="292757"/>
            <a:chOff x="3694938" y="4916771"/>
            <a:chExt cx="292757" cy="292757"/>
          </a:xfrm>
        </p:grpSpPr>
        <p:sp>
          <p:nvSpPr>
            <p:cNvPr id="261" name="Oval 45">
              <a:extLst>
                <a:ext uri="{FF2B5EF4-FFF2-40B4-BE49-F238E27FC236}">
                  <a16:creationId xmlns:a16="http://schemas.microsoft.com/office/drawing/2014/main" xmlns="" id="{86694F26-80D5-467D-94C4-C9C860517F5F}"/>
                </a:ext>
              </a:extLst>
            </p:cNvPr>
            <p:cNvSpPr/>
            <p:nvPr/>
          </p:nvSpPr>
          <p:spPr>
            <a:xfrm>
              <a:off x="3697750" y="4920543"/>
              <a:ext cx="288000" cy="28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149" name="Группа 148"/>
            <p:cNvGrpSpPr/>
            <p:nvPr/>
          </p:nvGrpSpPr>
          <p:grpSpPr>
            <a:xfrm>
              <a:off x="3694938" y="4916771"/>
              <a:ext cx="292757" cy="292757"/>
              <a:chOff x="4983789" y="2199615"/>
              <a:chExt cx="428626" cy="428626"/>
            </a:xfrm>
            <a:solidFill>
              <a:srgbClr val="235D85"/>
            </a:solidFill>
          </p:grpSpPr>
          <p:sp>
            <p:nvSpPr>
              <p:cNvPr id="150" name="Oval 45">
                <a:extLst>
                  <a:ext uri="{FF2B5EF4-FFF2-40B4-BE49-F238E27FC236}">
                    <a16:creationId xmlns:a16="http://schemas.microsoft.com/office/drawing/2014/main" xmlns="" id="{86694F26-80D5-467D-94C4-C9C860517F5F}"/>
                  </a:ext>
                </a:extLst>
              </p:cNvPr>
              <p:cNvSpPr/>
              <p:nvPr/>
            </p:nvSpPr>
            <p:spPr>
              <a:xfrm>
                <a:off x="5102852" y="2318678"/>
                <a:ext cx="190500" cy="1905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51" name="Circle: Hollow 46">
                <a:extLst>
                  <a:ext uri="{FF2B5EF4-FFF2-40B4-BE49-F238E27FC236}">
                    <a16:creationId xmlns:a16="http://schemas.microsoft.com/office/drawing/2014/main" xmlns="" id="{B0789B4A-0620-4211-9109-6DBE9A07FE51}"/>
                  </a:ext>
                </a:extLst>
              </p:cNvPr>
              <p:cNvSpPr/>
              <p:nvPr/>
            </p:nvSpPr>
            <p:spPr>
              <a:xfrm>
                <a:off x="4983789" y="2199615"/>
                <a:ext cx="428626" cy="428626"/>
              </a:xfrm>
              <a:prstGeom prst="donut">
                <a:avLst>
                  <a:gd name="adj" fmla="val 528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</p:grpSp>
      <p:grpSp>
        <p:nvGrpSpPr>
          <p:cNvPr id="264" name="Группа 263"/>
          <p:cNvGrpSpPr/>
          <p:nvPr/>
        </p:nvGrpSpPr>
        <p:grpSpPr>
          <a:xfrm>
            <a:off x="3694938" y="5528054"/>
            <a:ext cx="292757" cy="292757"/>
            <a:chOff x="3694938" y="5528054"/>
            <a:chExt cx="292757" cy="292757"/>
          </a:xfrm>
        </p:grpSpPr>
        <p:sp>
          <p:nvSpPr>
            <p:cNvPr id="263" name="Oval 45">
              <a:extLst>
                <a:ext uri="{FF2B5EF4-FFF2-40B4-BE49-F238E27FC236}">
                  <a16:creationId xmlns:a16="http://schemas.microsoft.com/office/drawing/2014/main" xmlns="" id="{86694F26-80D5-467D-94C4-C9C860517F5F}"/>
                </a:ext>
              </a:extLst>
            </p:cNvPr>
            <p:cNvSpPr/>
            <p:nvPr/>
          </p:nvSpPr>
          <p:spPr>
            <a:xfrm>
              <a:off x="3697361" y="5530432"/>
              <a:ext cx="288000" cy="288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152" name="Группа 151"/>
            <p:cNvGrpSpPr/>
            <p:nvPr/>
          </p:nvGrpSpPr>
          <p:grpSpPr>
            <a:xfrm>
              <a:off x="3694938" y="5528054"/>
              <a:ext cx="292757" cy="292757"/>
              <a:chOff x="4983789" y="2199615"/>
              <a:chExt cx="428626" cy="428626"/>
            </a:xfrm>
            <a:solidFill>
              <a:srgbClr val="235D85"/>
            </a:solidFill>
          </p:grpSpPr>
          <p:sp>
            <p:nvSpPr>
              <p:cNvPr id="153" name="Oval 45">
                <a:extLst>
                  <a:ext uri="{FF2B5EF4-FFF2-40B4-BE49-F238E27FC236}">
                    <a16:creationId xmlns:a16="http://schemas.microsoft.com/office/drawing/2014/main" xmlns="" id="{86694F26-80D5-467D-94C4-C9C860517F5F}"/>
                  </a:ext>
                </a:extLst>
              </p:cNvPr>
              <p:cNvSpPr/>
              <p:nvPr/>
            </p:nvSpPr>
            <p:spPr>
              <a:xfrm>
                <a:off x="5102852" y="2318678"/>
                <a:ext cx="190500" cy="190500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54" name="Circle: Hollow 46">
                <a:extLst>
                  <a:ext uri="{FF2B5EF4-FFF2-40B4-BE49-F238E27FC236}">
                    <a16:creationId xmlns:a16="http://schemas.microsoft.com/office/drawing/2014/main" xmlns="" id="{B0789B4A-0620-4211-9109-6DBE9A07FE51}"/>
                  </a:ext>
                </a:extLst>
              </p:cNvPr>
              <p:cNvSpPr/>
              <p:nvPr/>
            </p:nvSpPr>
            <p:spPr>
              <a:xfrm>
                <a:off x="4983789" y="2199615"/>
                <a:ext cx="428626" cy="428626"/>
              </a:xfrm>
              <a:prstGeom prst="donut">
                <a:avLst>
                  <a:gd name="adj" fmla="val 528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870267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7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7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7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500"/>
                            </p:stCondLst>
                            <p:childTnLst>
                              <p:par>
                                <p:cTn id="3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3000"/>
                            </p:stCondLst>
                            <p:childTnLst>
                              <p:par>
                                <p:cTn id="4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500"/>
                            </p:stCondLst>
                            <p:childTnLst>
                              <p:par>
                                <p:cTn id="4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000"/>
                            </p:stCondLst>
                            <p:childTnLst>
                              <p:par>
                                <p:cTn id="5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4500"/>
                            </p:stCondLst>
                            <p:childTnLst>
                              <p:par>
                                <p:cTn id="5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0"/>
                            </p:stCondLst>
                            <p:childTnLst>
                              <p:par>
                                <p:cTn id="6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5" dur="5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5500"/>
                            </p:stCondLst>
                            <p:childTnLst>
                              <p:par>
                                <p:cTn id="6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6000"/>
                            </p:stCondLst>
                            <p:childTnLst>
                              <p:par>
                                <p:cTn id="7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6500"/>
                            </p:stCondLst>
                            <p:childTnLst>
                              <p:par>
                                <p:cTn id="7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7000"/>
                            </p:stCondLst>
                            <p:childTnLst>
                              <p:par>
                                <p:cTn id="8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5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7500"/>
                            </p:stCondLst>
                            <p:childTnLst>
                              <p:par>
                                <p:cTn id="8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8000"/>
                            </p:stCondLst>
                            <p:childTnLst>
                              <p:par>
                                <p:cTn id="9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5" dur="5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8500"/>
                            </p:stCondLst>
                            <p:childTnLst>
                              <p:par>
                                <p:cTn id="9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9" dur="5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9000"/>
                            </p:stCondLst>
                            <p:childTnLst>
                              <p:par>
                                <p:cTn id="10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5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9500"/>
                            </p:stCondLst>
                            <p:childTnLst>
                              <p:par>
                                <p:cTn id="10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10000"/>
                            </p:stCondLst>
                            <p:childTnLst>
                              <p:par>
                                <p:cTn id="1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5" dur="5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10500"/>
                            </p:stCondLst>
                            <p:childTnLst>
                              <p:par>
                                <p:cTn id="11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9" dur="50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1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2" fill="hold">
                            <p:stCondLst>
                              <p:cond delay="11000"/>
                            </p:stCondLst>
                            <p:childTnLst>
                              <p:par>
                                <p:cTn id="123" presetID="17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5" dur="500" fill="hold"/>
                                        <p:tgtEl>
                                          <p:spTgt spid="2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500" fill="hold"/>
                                        <p:tgtEl>
                                          <p:spTgt spid="2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7" dur="500" fill="hold"/>
                                        <p:tgtEl>
                                          <p:spTgt spid="2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500" fill="hold"/>
                                        <p:tgtEl>
                                          <p:spTgt spid="2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2" grpId="0" animBg="1"/>
      <p:bldP spid="114" grpId="0" animBg="1"/>
      <p:bldP spid="157" grpId="0" animBg="1"/>
      <p:bldP spid="164" grpId="0" animBg="1"/>
      <p:bldP spid="166" grpId="0" animBg="1"/>
      <p:bldP spid="168" grpId="0" animBg="1"/>
      <p:bldP spid="170" grpId="0" animBg="1"/>
      <p:bldP spid="176" grpId="0" animBg="1"/>
      <p:bldP spid="18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033885" y="346455"/>
            <a:ext cx="11038779" cy="4078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50" b="1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КО 2.0 БОЙЫНША ПАЙДАЛЫ СІЛТЕМЕЛЕР</a:t>
            </a:r>
            <a:endParaRPr lang="kk-KZ" sz="205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2" name="Шеврон 91"/>
          <p:cNvSpPr/>
          <p:nvPr/>
        </p:nvSpPr>
        <p:spPr>
          <a:xfrm>
            <a:off x="3082080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РЕЕСТРЛЕР (ТПФ/ОИН)</a:t>
            </a:r>
          </a:p>
        </p:txBody>
      </p:sp>
      <p:sp>
        <p:nvSpPr>
          <p:cNvPr id="93" name="Шеврон 92"/>
          <p:cNvSpPr/>
          <p:nvPr/>
        </p:nvSpPr>
        <p:spPr>
          <a:xfrm>
            <a:off x="6090212" y="43570"/>
            <a:ext cx="3024000" cy="180000"/>
          </a:xfrm>
          <a:prstGeom prst="chevron">
            <a:avLst>
              <a:gd name="adj" fmla="val 46736"/>
            </a:avLst>
          </a:prstGeom>
          <a:solidFill>
            <a:srgbClr val="17335D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. ПКО</a:t>
            </a:r>
          </a:p>
        </p:txBody>
      </p:sp>
      <p:sp>
        <p:nvSpPr>
          <p:cNvPr id="94" name="Шеврон 93"/>
          <p:cNvSpPr/>
          <p:nvPr/>
        </p:nvSpPr>
        <p:spPr>
          <a:xfrm>
            <a:off x="9095936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. ЕНС ТРУ</a:t>
            </a:r>
          </a:p>
        </p:txBody>
      </p:sp>
      <p:sp>
        <p:nvSpPr>
          <p:cNvPr id="95" name="Пятиугольник 94"/>
          <p:cNvSpPr/>
          <p:nvPr/>
        </p:nvSpPr>
        <p:spPr>
          <a:xfrm>
            <a:off x="76356" y="47575"/>
            <a:ext cx="3024000" cy="18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kk-KZ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</a:t>
            </a:r>
            <a:r>
              <a:rPr lang="ru-RU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ФТЕЙК-КЕЛІСІМШАРТТАР</a:t>
            </a:r>
            <a:endParaRPr lang="ru-RU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59850" y="1484784"/>
            <a:ext cx="10860723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мұрық-Қазына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ұлттық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л-ауқат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ры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кционерлік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ғамының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ауыс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ретін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кцияларының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тысу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лестерінің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лу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дан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да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өп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йызы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ншік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месе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німгерлік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сқару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қығымен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«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мұрық-Қазына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АҚ-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ға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ікелей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месе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нама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иесілі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ңды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ұлғалардың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тып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уды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үзеге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сыру</a:t>
            </a:r>
            <a:r>
              <a:rPr lang="ru-RU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әртібі</a:t>
            </a:r>
            <a:r>
              <a:rPr lang="kk-KZ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/>
              </a:rPr>
              <a:t>https</a:t>
            </a:r>
            <a:r>
              <a:rPr lang="en-US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/>
              </a:rPr>
              <a:t>://zakup.sk.kz/#/</a:t>
            </a:r>
            <a:r>
              <a:rPr lang="en-US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/>
              </a:rPr>
              <a:t>ext/regulation</a:t>
            </a:r>
            <a:endParaRPr lang="en-US" sz="20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ru-RU" sz="2000" dirty="0">
              <a:solidFill>
                <a:schemeClr val="tx2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КО 2.0 </a:t>
            </a:r>
            <a:r>
              <a:rPr lang="ru-RU" sz="20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йынша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ліктілік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итерийлерімен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kk-KZ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ЖҚ номенклатурасы</a:t>
            </a:r>
            <a:r>
              <a:rPr lang="ru-RU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4"/>
              </a:rPr>
              <a:t>https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4"/>
              </a:rPr>
              <a:t>://www.skc.kz/activity/pko/pko-2-0-categories</a:t>
            </a: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4"/>
              </a:rPr>
              <a:t>/</a:t>
            </a:r>
            <a:endParaRPr lang="en-US" sz="2000" dirty="0" smtClean="0">
              <a:solidFill>
                <a:schemeClr val="tx2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20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endParaRPr lang="ru-RU" sz="2000" dirty="0" smtClean="0">
              <a:solidFill>
                <a:schemeClr val="tx2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леуетті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ткізушілер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шін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КО 2.0 </a:t>
            </a:r>
            <a:r>
              <a:rPr lang="ru-RU" sz="20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у</a:t>
            </a:r>
            <a:r>
              <a:rPr lang="ru-RU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йынша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йне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ұсқаулық</a:t>
            </a:r>
            <a:r>
              <a:rPr lang="ru-RU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5"/>
              </a:rPr>
              <a:t>https</a:t>
            </a:r>
            <a:r>
              <a:rPr lang="en-US" sz="20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5"/>
              </a:rPr>
              <a:t>://</a:t>
            </a:r>
            <a:r>
              <a:rPr lang="en-US" sz="2000" dirty="0" smtClean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5"/>
              </a:rPr>
              <a:t>youtu.be/kWcLZtk4FRg</a:t>
            </a:r>
            <a:endParaRPr lang="ru-RU" sz="2000" dirty="0" smtClean="0">
              <a:solidFill>
                <a:schemeClr val="tx2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ru-RU" sz="2000" dirty="0" smtClean="0">
              <a:solidFill>
                <a:schemeClr val="tx2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леуетті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ткізушілер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шін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КО 2.0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у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йынша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йдаланушы</a:t>
            </a:r>
            <a:r>
              <a:rPr lang="ru-RU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ұсқаулығы</a:t>
            </a:r>
            <a:r>
              <a:rPr lang="ru-RU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/>
              </a:rPr>
              <a:t>https</a:t>
            </a:r>
            <a:r>
              <a:rPr lang="en-US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/>
              </a:rPr>
              <a:t>://zakup.sk.kz/#/</a:t>
            </a:r>
            <a:r>
              <a:rPr lang="en-US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/>
              </a:rPr>
              <a:t>ext/regulation</a:t>
            </a:r>
            <a:endParaRPr lang="ru-RU" sz="20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ru-RU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8993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033885" y="346455"/>
            <a:ext cx="11038779" cy="4078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50" b="1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С ТРУ ҚОЛДАНЫЛУ </a:t>
            </a:r>
            <a:r>
              <a:rPr lang="ru-RU" sz="205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ЯСЫ</a:t>
            </a:r>
          </a:p>
        </p:txBody>
      </p:sp>
      <p:sp>
        <p:nvSpPr>
          <p:cNvPr id="92" name="Шеврон 91"/>
          <p:cNvSpPr/>
          <p:nvPr/>
        </p:nvSpPr>
        <p:spPr>
          <a:xfrm>
            <a:off x="3082080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РЕЕСТРЛЕР (ТПФ/ОИН)</a:t>
            </a:r>
          </a:p>
        </p:txBody>
      </p:sp>
      <p:sp>
        <p:nvSpPr>
          <p:cNvPr id="93" name="Шеврон 92"/>
          <p:cNvSpPr/>
          <p:nvPr/>
        </p:nvSpPr>
        <p:spPr>
          <a:xfrm>
            <a:off x="6090212" y="43570"/>
            <a:ext cx="3024000" cy="180000"/>
          </a:xfrm>
          <a:prstGeom prst="chevron">
            <a:avLst>
              <a:gd name="adj" fmla="val 46736"/>
            </a:avLst>
          </a:prstGeom>
          <a:solidFill>
            <a:srgbClr val="D9D9D9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. ПКО</a:t>
            </a:r>
          </a:p>
        </p:txBody>
      </p:sp>
      <p:sp>
        <p:nvSpPr>
          <p:cNvPr id="94" name="Шеврон 93"/>
          <p:cNvSpPr/>
          <p:nvPr/>
        </p:nvSpPr>
        <p:spPr>
          <a:xfrm>
            <a:off x="9095936" y="43570"/>
            <a:ext cx="3024000" cy="180000"/>
          </a:xfrm>
          <a:prstGeom prst="chevron">
            <a:avLst>
              <a:gd name="adj" fmla="val 46736"/>
            </a:avLst>
          </a:prstGeom>
          <a:solidFill>
            <a:srgbClr val="17335D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. ЕНС ТРУ</a:t>
            </a:r>
          </a:p>
        </p:txBody>
      </p:sp>
      <p:sp>
        <p:nvSpPr>
          <p:cNvPr id="95" name="Пятиугольник 94"/>
          <p:cNvSpPr/>
          <p:nvPr/>
        </p:nvSpPr>
        <p:spPr>
          <a:xfrm>
            <a:off x="76356" y="47575"/>
            <a:ext cx="3024000" cy="18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kk-KZ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</a:t>
            </a:r>
            <a:r>
              <a:rPr lang="ru-RU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ФТЕЙК-КЕЛІСІМШАРТТАР</a:t>
            </a:r>
            <a:endParaRPr lang="ru-RU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Oval 4"/>
          <p:cNvSpPr>
            <a:spLocks noChangeArrowheads="1"/>
          </p:cNvSpPr>
          <p:nvPr/>
        </p:nvSpPr>
        <p:spPr bwMode="auto">
          <a:xfrm>
            <a:off x="747643" y="2801275"/>
            <a:ext cx="1521933" cy="1521933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微软雅黑" panose="020B0503020204020204" pitchFamily="34" charset="-122"/>
            </a:endParaRPr>
          </a:p>
        </p:txBody>
      </p:sp>
      <p:grpSp>
        <p:nvGrpSpPr>
          <p:cNvPr id="9" name="Group 5"/>
          <p:cNvGrpSpPr/>
          <p:nvPr/>
        </p:nvGrpSpPr>
        <p:grpSpPr>
          <a:xfrm>
            <a:off x="574021" y="2627653"/>
            <a:ext cx="1868076" cy="1868076"/>
            <a:chOff x="1119258" y="2257147"/>
            <a:chExt cx="1868076" cy="1868076"/>
          </a:xfrm>
        </p:grpSpPr>
        <p:sp>
          <p:nvSpPr>
            <p:cNvPr id="10" name="Freeform 6"/>
            <p:cNvSpPr>
              <a:spLocks/>
            </p:cNvSpPr>
            <p:nvPr/>
          </p:nvSpPr>
          <p:spPr bwMode="auto">
            <a:xfrm>
              <a:off x="2495041" y="2394505"/>
              <a:ext cx="356034" cy="354935"/>
            </a:xfrm>
            <a:custGeom>
              <a:avLst/>
              <a:gdLst>
                <a:gd name="T0" fmla="*/ 207 w 207"/>
                <a:gd name="T1" fmla="*/ 181 h 206"/>
                <a:gd name="T2" fmla="*/ 26 w 207"/>
                <a:gd name="T3" fmla="*/ 0 h 206"/>
                <a:gd name="T4" fmla="*/ 0 w 207"/>
                <a:gd name="T5" fmla="*/ 44 h 206"/>
                <a:gd name="T6" fmla="*/ 163 w 207"/>
                <a:gd name="T7" fmla="*/ 206 h 206"/>
                <a:gd name="T8" fmla="*/ 207 w 207"/>
                <a:gd name="T9" fmla="*/ 181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206">
                  <a:moveTo>
                    <a:pt x="207" y="181"/>
                  </a:moveTo>
                  <a:cubicBezTo>
                    <a:pt x="162" y="107"/>
                    <a:pt x="100" y="45"/>
                    <a:pt x="26" y="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66" y="85"/>
                    <a:pt x="122" y="140"/>
                    <a:pt x="163" y="206"/>
                  </a:cubicBezTo>
                  <a:lnTo>
                    <a:pt x="207" y="181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2075273" y="2257147"/>
              <a:ext cx="427460" cy="191203"/>
            </a:xfrm>
            <a:custGeom>
              <a:avLst/>
              <a:gdLst>
                <a:gd name="T0" fmla="*/ 0 w 248"/>
                <a:gd name="T1" fmla="*/ 0 h 111"/>
                <a:gd name="T2" fmla="*/ 0 w 248"/>
                <a:gd name="T3" fmla="*/ 51 h 111"/>
                <a:gd name="T4" fmla="*/ 222 w 248"/>
                <a:gd name="T5" fmla="*/ 111 h 111"/>
                <a:gd name="T6" fmla="*/ 248 w 248"/>
                <a:gd name="T7" fmla="*/ 67 h 111"/>
                <a:gd name="T8" fmla="*/ 0 w 248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111">
                  <a:moveTo>
                    <a:pt x="0" y="0"/>
                  </a:moveTo>
                  <a:cubicBezTo>
                    <a:pt x="0" y="51"/>
                    <a:pt x="0" y="51"/>
                    <a:pt x="0" y="51"/>
                  </a:cubicBezTo>
                  <a:cubicBezTo>
                    <a:pt x="80" y="53"/>
                    <a:pt x="156" y="75"/>
                    <a:pt x="222" y="111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174" y="26"/>
                    <a:pt x="90" y="2"/>
                    <a:pt x="0" y="0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>
              <a:off x="2796131" y="2743946"/>
              <a:ext cx="191203" cy="425262"/>
            </a:xfrm>
            <a:custGeom>
              <a:avLst/>
              <a:gdLst>
                <a:gd name="T0" fmla="*/ 45 w 111"/>
                <a:gd name="T1" fmla="*/ 0 h 247"/>
                <a:gd name="T2" fmla="*/ 0 w 111"/>
                <a:gd name="T3" fmla="*/ 26 h 247"/>
                <a:gd name="T4" fmla="*/ 60 w 111"/>
                <a:gd name="T5" fmla="*/ 247 h 247"/>
                <a:gd name="T6" fmla="*/ 111 w 111"/>
                <a:gd name="T7" fmla="*/ 247 h 247"/>
                <a:gd name="T8" fmla="*/ 45 w 111"/>
                <a:gd name="T9" fmla="*/ 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247">
                  <a:moveTo>
                    <a:pt x="45" y="0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37" y="92"/>
                    <a:pt x="58" y="167"/>
                    <a:pt x="60" y="247"/>
                  </a:cubicBezTo>
                  <a:cubicBezTo>
                    <a:pt x="111" y="247"/>
                    <a:pt x="111" y="247"/>
                    <a:pt x="111" y="247"/>
                  </a:cubicBezTo>
                  <a:cubicBezTo>
                    <a:pt x="109" y="158"/>
                    <a:pt x="85" y="74"/>
                    <a:pt x="45" y="0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auto">
            <a:xfrm>
              <a:off x="2796131" y="3213162"/>
              <a:ext cx="191203" cy="427460"/>
            </a:xfrm>
            <a:custGeom>
              <a:avLst/>
              <a:gdLst>
                <a:gd name="T0" fmla="*/ 60 w 111"/>
                <a:gd name="T1" fmla="*/ 0 h 248"/>
                <a:gd name="T2" fmla="*/ 0 w 111"/>
                <a:gd name="T3" fmla="*/ 222 h 248"/>
                <a:gd name="T4" fmla="*/ 45 w 111"/>
                <a:gd name="T5" fmla="*/ 248 h 248"/>
                <a:gd name="T6" fmla="*/ 111 w 111"/>
                <a:gd name="T7" fmla="*/ 0 h 248"/>
                <a:gd name="T8" fmla="*/ 60 w 111"/>
                <a:gd name="T9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248">
                  <a:moveTo>
                    <a:pt x="60" y="0"/>
                  </a:moveTo>
                  <a:cubicBezTo>
                    <a:pt x="58" y="80"/>
                    <a:pt x="37" y="156"/>
                    <a:pt x="0" y="222"/>
                  </a:cubicBezTo>
                  <a:cubicBezTo>
                    <a:pt x="45" y="248"/>
                    <a:pt x="45" y="248"/>
                    <a:pt x="45" y="248"/>
                  </a:cubicBezTo>
                  <a:cubicBezTo>
                    <a:pt x="85" y="174"/>
                    <a:pt x="109" y="90"/>
                    <a:pt x="111" y="0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14" name="Freeform 10"/>
            <p:cNvSpPr>
              <a:spLocks/>
            </p:cNvSpPr>
            <p:nvPr/>
          </p:nvSpPr>
          <p:spPr bwMode="auto">
            <a:xfrm>
              <a:off x="2495041" y="3632930"/>
              <a:ext cx="356034" cy="356034"/>
            </a:xfrm>
            <a:custGeom>
              <a:avLst/>
              <a:gdLst>
                <a:gd name="T0" fmla="*/ 207 w 207"/>
                <a:gd name="T1" fmla="*/ 26 h 207"/>
                <a:gd name="T2" fmla="*/ 163 w 207"/>
                <a:gd name="T3" fmla="*/ 0 h 207"/>
                <a:gd name="T4" fmla="*/ 0 w 207"/>
                <a:gd name="T5" fmla="*/ 163 h 207"/>
                <a:gd name="T6" fmla="*/ 26 w 207"/>
                <a:gd name="T7" fmla="*/ 207 h 207"/>
                <a:gd name="T8" fmla="*/ 207 w 207"/>
                <a:gd name="T9" fmla="*/ 26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207">
                  <a:moveTo>
                    <a:pt x="207" y="26"/>
                  </a:moveTo>
                  <a:cubicBezTo>
                    <a:pt x="163" y="0"/>
                    <a:pt x="163" y="0"/>
                    <a:pt x="163" y="0"/>
                  </a:cubicBezTo>
                  <a:cubicBezTo>
                    <a:pt x="122" y="66"/>
                    <a:pt x="66" y="122"/>
                    <a:pt x="0" y="163"/>
                  </a:cubicBezTo>
                  <a:cubicBezTo>
                    <a:pt x="26" y="207"/>
                    <a:pt x="26" y="207"/>
                    <a:pt x="26" y="207"/>
                  </a:cubicBezTo>
                  <a:cubicBezTo>
                    <a:pt x="100" y="162"/>
                    <a:pt x="162" y="100"/>
                    <a:pt x="207" y="26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2075273" y="3936217"/>
              <a:ext cx="427460" cy="189006"/>
            </a:xfrm>
            <a:custGeom>
              <a:avLst/>
              <a:gdLst>
                <a:gd name="T0" fmla="*/ 248 w 248"/>
                <a:gd name="T1" fmla="*/ 44 h 110"/>
                <a:gd name="T2" fmla="*/ 222 w 248"/>
                <a:gd name="T3" fmla="*/ 0 h 110"/>
                <a:gd name="T4" fmla="*/ 0 w 248"/>
                <a:gd name="T5" fmla="*/ 59 h 110"/>
                <a:gd name="T6" fmla="*/ 0 w 248"/>
                <a:gd name="T7" fmla="*/ 110 h 110"/>
                <a:gd name="T8" fmla="*/ 248 w 248"/>
                <a:gd name="T9" fmla="*/ 4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110">
                  <a:moveTo>
                    <a:pt x="248" y="44"/>
                  </a:moveTo>
                  <a:cubicBezTo>
                    <a:pt x="222" y="0"/>
                    <a:pt x="222" y="0"/>
                    <a:pt x="222" y="0"/>
                  </a:cubicBezTo>
                  <a:cubicBezTo>
                    <a:pt x="156" y="36"/>
                    <a:pt x="80" y="57"/>
                    <a:pt x="0" y="59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90" y="108"/>
                    <a:pt x="174" y="84"/>
                    <a:pt x="248" y="44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1606057" y="3936217"/>
              <a:ext cx="425262" cy="189006"/>
            </a:xfrm>
            <a:custGeom>
              <a:avLst/>
              <a:gdLst>
                <a:gd name="T0" fmla="*/ 0 w 247"/>
                <a:gd name="T1" fmla="*/ 44 h 110"/>
                <a:gd name="T2" fmla="*/ 247 w 247"/>
                <a:gd name="T3" fmla="*/ 110 h 110"/>
                <a:gd name="T4" fmla="*/ 247 w 247"/>
                <a:gd name="T5" fmla="*/ 59 h 110"/>
                <a:gd name="T6" fmla="*/ 26 w 247"/>
                <a:gd name="T7" fmla="*/ 0 h 110"/>
                <a:gd name="T8" fmla="*/ 0 w 247"/>
                <a:gd name="T9" fmla="*/ 4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110">
                  <a:moveTo>
                    <a:pt x="0" y="44"/>
                  </a:moveTo>
                  <a:cubicBezTo>
                    <a:pt x="74" y="84"/>
                    <a:pt x="158" y="108"/>
                    <a:pt x="247" y="110"/>
                  </a:cubicBezTo>
                  <a:cubicBezTo>
                    <a:pt x="247" y="59"/>
                    <a:pt x="247" y="59"/>
                    <a:pt x="247" y="59"/>
                  </a:cubicBezTo>
                  <a:cubicBezTo>
                    <a:pt x="167" y="57"/>
                    <a:pt x="92" y="36"/>
                    <a:pt x="26" y="0"/>
                  </a:cubicBezTo>
                  <a:lnTo>
                    <a:pt x="0" y="44"/>
                  </a:ln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17" name="Freeform 13"/>
            <p:cNvSpPr>
              <a:spLocks/>
            </p:cNvSpPr>
            <p:nvPr/>
          </p:nvSpPr>
          <p:spPr bwMode="auto">
            <a:xfrm>
              <a:off x="1256616" y="3632930"/>
              <a:ext cx="354935" cy="356034"/>
            </a:xfrm>
            <a:custGeom>
              <a:avLst/>
              <a:gdLst>
                <a:gd name="T0" fmla="*/ 44 w 206"/>
                <a:gd name="T1" fmla="*/ 0 h 207"/>
                <a:gd name="T2" fmla="*/ 0 w 206"/>
                <a:gd name="T3" fmla="*/ 26 h 207"/>
                <a:gd name="T4" fmla="*/ 181 w 206"/>
                <a:gd name="T5" fmla="*/ 207 h 207"/>
                <a:gd name="T6" fmla="*/ 206 w 206"/>
                <a:gd name="T7" fmla="*/ 163 h 207"/>
                <a:gd name="T8" fmla="*/ 44 w 206"/>
                <a:gd name="T9" fmla="*/ 0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" h="207">
                  <a:moveTo>
                    <a:pt x="44" y="0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45" y="100"/>
                    <a:pt x="107" y="162"/>
                    <a:pt x="181" y="207"/>
                  </a:cubicBezTo>
                  <a:cubicBezTo>
                    <a:pt x="206" y="163"/>
                    <a:pt x="206" y="163"/>
                    <a:pt x="206" y="163"/>
                  </a:cubicBezTo>
                  <a:cubicBezTo>
                    <a:pt x="140" y="122"/>
                    <a:pt x="85" y="66"/>
                    <a:pt x="44" y="0"/>
                  </a:cubicBezTo>
                  <a:close/>
                </a:path>
              </a:pathLst>
            </a:custGeom>
            <a:solidFill>
              <a:srgbClr val="7F7F7F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18" name="Freeform 14"/>
            <p:cNvSpPr>
              <a:spLocks/>
            </p:cNvSpPr>
            <p:nvPr/>
          </p:nvSpPr>
          <p:spPr bwMode="auto">
            <a:xfrm>
              <a:off x="1119258" y="3213162"/>
              <a:ext cx="191203" cy="427460"/>
            </a:xfrm>
            <a:custGeom>
              <a:avLst/>
              <a:gdLst>
                <a:gd name="T0" fmla="*/ 0 w 111"/>
                <a:gd name="T1" fmla="*/ 0 h 248"/>
                <a:gd name="T2" fmla="*/ 67 w 111"/>
                <a:gd name="T3" fmla="*/ 248 h 248"/>
                <a:gd name="T4" fmla="*/ 111 w 111"/>
                <a:gd name="T5" fmla="*/ 222 h 248"/>
                <a:gd name="T6" fmla="*/ 51 w 111"/>
                <a:gd name="T7" fmla="*/ 0 h 248"/>
                <a:gd name="T8" fmla="*/ 0 w 111"/>
                <a:gd name="T9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248">
                  <a:moveTo>
                    <a:pt x="0" y="0"/>
                  </a:moveTo>
                  <a:cubicBezTo>
                    <a:pt x="2" y="90"/>
                    <a:pt x="26" y="174"/>
                    <a:pt x="67" y="248"/>
                  </a:cubicBezTo>
                  <a:cubicBezTo>
                    <a:pt x="111" y="222"/>
                    <a:pt x="111" y="222"/>
                    <a:pt x="111" y="222"/>
                  </a:cubicBezTo>
                  <a:cubicBezTo>
                    <a:pt x="75" y="156"/>
                    <a:pt x="53" y="80"/>
                    <a:pt x="5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19" name="Freeform 15"/>
            <p:cNvSpPr>
              <a:spLocks/>
            </p:cNvSpPr>
            <p:nvPr/>
          </p:nvSpPr>
          <p:spPr bwMode="auto">
            <a:xfrm>
              <a:off x="1119258" y="2743946"/>
              <a:ext cx="191203" cy="425262"/>
            </a:xfrm>
            <a:custGeom>
              <a:avLst/>
              <a:gdLst>
                <a:gd name="T0" fmla="*/ 51 w 111"/>
                <a:gd name="T1" fmla="*/ 247 h 247"/>
                <a:gd name="T2" fmla="*/ 111 w 111"/>
                <a:gd name="T3" fmla="*/ 26 h 247"/>
                <a:gd name="T4" fmla="*/ 67 w 111"/>
                <a:gd name="T5" fmla="*/ 0 h 247"/>
                <a:gd name="T6" fmla="*/ 0 w 111"/>
                <a:gd name="T7" fmla="*/ 247 h 247"/>
                <a:gd name="T8" fmla="*/ 51 w 111"/>
                <a:gd name="T9" fmla="*/ 247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247">
                  <a:moveTo>
                    <a:pt x="51" y="247"/>
                  </a:moveTo>
                  <a:cubicBezTo>
                    <a:pt x="53" y="167"/>
                    <a:pt x="75" y="92"/>
                    <a:pt x="111" y="2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26" y="74"/>
                    <a:pt x="2" y="158"/>
                    <a:pt x="0" y="247"/>
                  </a:cubicBezTo>
                  <a:lnTo>
                    <a:pt x="51" y="247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20" name="Freeform 16"/>
            <p:cNvSpPr>
              <a:spLocks/>
            </p:cNvSpPr>
            <p:nvPr/>
          </p:nvSpPr>
          <p:spPr bwMode="auto">
            <a:xfrm>
              <a:off x="1256616" y="2394505"/>
              <a:ext cx="354935" cy="354935"/>
            </a:xfrm>
            <a:custGeom>
              <a:avLst/>
              <a:gdLst>
                <a:gd name="T0" fmla="*/ 0 w 206"/>
                <a:gd name="T1" fmla="*/ 181 h 206"/>
                <a:gd name="T2" fmla="*/ 44 w 206"/>
                <a:gd name="T3" fmla="*/ 206 h 206"/>
                <a:gd name="T4" fmla="*/ 206 w 206"/>
                <a:gd name="T5" fmla="*/ 44 h 206"/>
                <a:gd name="T6" fmla="*/ 181 w 206"/>
                <a:gd name="T7" fmla="*/ 0 h 206"/>
                <a:gd name="T8" fmla="*/ 0 w 206"/>
                <a:gd name="T9" fmla="*/ 181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" h="206">
                  <a:moveTo>
                    <a:pt x="0" y="181"/>
                  </a:moveTo>
                  <a:cubicBezTo>
                    <a:pt x="44" y="206"/>
                    <a:pt x="44" y="206"/>
                    <a:pt x="44" y="206"/>
                  </a:cubicBezTo>
                  <a:cubicBezTo>
                    <a:pt x="85" y="140"/>
                    <a:pt x="140" y="85"/>
                    <a:pt x="206" y="44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07" y="45"/>
                    <a:pt x="45" y="107"/>
                    <a:pt x="0" y="181"/>
                  </a:cubicBez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21" name="Freeform 17"/>
            <p:cNvSpPr>
              <a:spLocks/>
            </p:cNvSpPr>
            <p:nvPr/>
          </p:nvSpPr>
          <p:spPr bwMode="auto">
            <a:xfrm>
              <a:off x="1606057" y="2257147"/>
              <a:ext cx="425262" cy="191203"/>
            </a:xfrm>
            <a:custGeom>
              <a:avLst/>
              <a:gdLst>
                <a:gd name="T0" fmla="*/ 0 w 247"/>
                <a:gd name="T1" fmla="*/ 67 h 111"/>
                <a:gd name="T2" fmla="*/ 25 w 247"/>
                <a:gd name="T3" fmla="*/ 111 h 111"/>
                <a:gd name="T4" fmla="*/ 247 w 247"/>
                <a:gd name="T5" fmla="*/ 51 h 111"/>
                <a:gd name="T6" fmla="*/ 247 w 247"/>
                <a:gd name="T7" fmla="*/ 0 h 111"/>
                <a:gd name="T8" fmla="*/ 0 w 247"/>
                <a:gd name="T9" fmla="*/ 6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111">
                  <a:moveTo>
                    <a:pt x="0" y="67"/>
                  </a:moveTo>
                  <a:cubicBezTo>
                    <a:pt x="25" y="111"/>
                    <a:pt x="25" y="111"/>
                    <a:pt x="25" y="111"/>
                  </a:cubicBezTo>
                  <a:cubicBezTo>
                    <a:pt x="92" y="75"/>
                    <a:pt x="167" y="53"/>
                    <a:pt x="247" y="51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158" y="2"/>
                    <a:pt x="74" y="26"/>
                    <a:pt x="0" y="67"/>
                  </a:cubicBezTo>
                  <a:close/>
                </a:path>
              </a:pathLst>
            </a:custGeom>
            <a:solidFill>
              <a:schemeClr val="accent1">
                <a:lumMod val="75000"/>
                <a:alpha val="24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</p:grpSp>
      <p:sp>
        <p:nvSpPr>
          <p:cNvPr id="22" name="Oval 5"/>
          <p:cNvSpPr>
            <a:spLocks noChangeArrowheads="1"/>
          </p:cNvSpPr>
          <p:nvPr/>
        </p:nvSpPr>
        <p:spPr bwMode="auto">
          <a:xfrm>
            <a:off x="3833584" y="2796493"/>
            <a:ext cx="1521933" cy="1521933"/>
          </a:xfrm>
          <a:prstGeom prst="ellipse">
            <a:avLst/>
          </a:prstGeom>
          <a:solidFill>
            <a:schemeClr val="accent2">
              <a:lumMod val="2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微软雅黑" panose="020B0503020204020204" pitchFamily="34" charset="-122"/>
            </a:endParaRPr>
          </a:p>
        </p:txBody>
      </p:sp>
      <p:grpSp>
        <p:nvGrpSpPr>
          <p:cNvPr id="23" name="Group 19"/>
          <p:cNvGrpSpPr/>
          <p:nvPr/>
        </p:nvGrpSpPr>
        <p:grpSpPr>
          <a:xfrm>
            <a:off x="3659962" y="2622871"/>
            <a:ext cx="1868076" cy="1868076"/>
            <a:chOff x="3800237" y="2257147"/>
            <a:chExt cx="1868076" cy="1868076"/>
          </a:xfrm>
        </p:grpSpPr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5176020" y="2394505"/>
              <a:ext cx="356034" cy="354935"/>
            </a:xfrm>
            <a:custGeom>
              <a:avLst/>
              <a:gdLst>
                <a:gd name="T0" fmla="*/ 207 w 207"/>
                <a:gd name="T1" fmla="*/ 181 h 206"/>
                <a:gd name="T2" fmla="*/ 26 w 207"/>
                <a:gd name="T3" fmla="*/ 0 h 206"/>
                <a:gd name="T4" fmla="*/ 0 w 207"/>
                <a:gd name="T5" fmla="*/ 44 h 206"/>
                <a:gd name="T6" fmla="*/ 163 w 207"/>
                <a:gd name="T7" fmla="*/ 206 h 206"/>
                <a:gd name="T8" fmla="*/ 207 w 207"/>
                <a:gd name="T9" fmla="*/ 181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206">
                  <a:moveTo>
                    <a:pt x="207" y="181"/>
                  </a:moveTo>
                  <a:cubicBezTo>
                    <a:pt x="162" y="107"/>
                    <a:pt x="100" y="45"/>
                    <a:pt x="26" y="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66" y="85"/>
                    <a:pt x="122" y="140"/>
                    <a:pt x="163" y="206"/>
                  </a:cubicBezTo>
                  <a:lnTo>
                    <a:pt x="207" y="181"/>
                  </a:lnTo>
                  <a:close/>
                </a:path>
              </a:pathLst>
            </a:custGeom>
            <a:solidFill>
              <a:srgbClr val="173F59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4756252" y="2257147"/>
              <a:ext cx="427460" cy="191203"/>
            </a:xfrm>
            <a:custGeom>
              <a:avLst/>
              <a:gdLst>
                <a:gd name="T0" fmla="*/ 0 w 248"/>
                <a:gd name="T1" fmla="*/ 0 h 111"/>
                <a:gd name="T2" fmla="*/ 0 w 248"/>
                <a:gd name="T3" fmla="*/ 51 h 111"/>
                <a:gd name="T4" fmla="*/ 222 w 248"/>
                <a:gd name="T5" fmla="*/ 111 h 111"/>
                <a:gd name="T6" fmla="*/ 248 w 248"/>
                <a:gd name="T7" fmla="*/ 67 h 111"/>
                <a:gd name="T8" fmla="*/ 0 w 248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111">
                  <a:moveTo>
                    <a:pt x="0" y="0"/>
                  </a:moveTo>
                  <a:cubicBezTo>
                    <a:pt x="0" y="51"/>
                    <a:pt x="0" y="51"/>
                    <a:pt x="0" y="51"/>
                  </a:cubicBezTo>
                  <a:cubicBezTo>
                    <a:pt x="80" y="53"/>
                    <a:pt x="156" y="75"/>
                    <a:pt x="222" y="111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174" y="26"/>
                    <a:pt x="90" y="2"/>
                    <a:pt x="0" y="0"/>
                  </a:cubicBezTo>
                  <a:close/>
                </a:path>
              </a:pathLst>
            </a:custGeom>
            <a:solidFill>
              <a:srgbClr val="173F59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26" name="Freeform 8"/>
            <p:cNvSpPr>
              <a:spLocks/>
            </p:cNvSpPr>
            <p:nvPr/>
          </p:nvSpPr>
          <p:spPr bwMode="auto">
            <a:xfrm>
              <a:off x="5477110" y="2743946"/>
              <a:ext cx="191203" cy="425262"/>
            </a:xfrm>
            <a:custGeom>
              <a:avLst/>
              <a:gdLst>
                <a:gd name="T0" fmla="*/ 45 w 111"/>
                <a:gd name="T1" fmla="*/ 0 h 247"/>
                <a:gd name="T2" fmla="*/ 0 w 111"/>
                <a:gd name="T3" fmla="*/ 26 h 247"/>
                <a:gd name="T4" fmla="*/ 60 w 111"/>
                <a:gd name="T5" fmla="*/ 247 h 247"/>
                <a:gd name="T6" fmla="*/ 111 w 111"/>
                <a:gd name="T7" fmla="*/ 247 h 247"/>
                <a:gd name="T8" fmla="*/ 45 w 111"/>
                <a:gd name="T9" fmla="*/ 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247">
                  <a:moveTo>
                    <a:pt x="45" y="0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37" y="92"/>
                    <a:pt x="58" y="167"/>
                    <a:pt x="60" y="247"/>
                  </a:cubicBezTo>
                  <a:cubicBezTo>
                    <a:pt x="111" y="247"/>
                    <a:pt x="111" y="247"/>
                    <a:pt x="111" y="247"/>
                  </a:cubicBezTo>
                  <a:cubicBezTo>
                    <a:pt x="109" y="158"/>
                    <a:pt x="85" y="74"/>
                    <a:pt x="45" y="0"/>
                  </a:cubicBezTo>
                  <a:close/>
                </a:path>
              </a:pathLst>
            </a:custGeom>
            <a:solidFill>
              <a:srgbClr val="173F59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>
              <a:off x="5477110" y="3213162"/>
              <a:ext cx="191203" cy="427460"/>
            </a:xfrm>
            <a:custGeom>
              <a:avLst/>
              <a:gdLst>
                <a:gd name="T0" fmla="*/ 60 w 111"/>
                <a:gd name="T1" fmla="*/ 0 h 248"/>
                <a:gd name="T2" fmla="*/ 0 w 111"/>
                <a:gd name="T3" fmla="*/ 222 h 248"/>
                <a:gd name="T4" fmla="*/ 45 w 111"/>
                <a:gd name="T5" fmla="*/ 248 h 248"/>
                <a:gd name="T6" fmla="*/ 111 w 111"/>
                <a:gd name="T7" fmla="*/ 0 h 248"/>
                <a:gd name="T8" fmla="*/ 60 w 111"/>
                <a:gd name="T9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248">
                  <a:moveTo>
                    <a:pt x="60" y="0"/>
                  </a:moveTo>
                  <a:cubicBezTo>
                    <a:pt x="58" y="80"/>
                    <a:pt x="37" y="156"/>
                    <a:pt x="0" y="222"/>
                  </a:cubicBezTo>
                  <a:cubicBezTo>
                    <a:pt x="45" y="248"/>
                    <a:pt x="45" y="248"/>
                    <a:pt x="45" y="248"/>
                  </a:cubicBezTo>
                  <a:cubicBezTo>
                    <a:pt x="85" y="174"/>
                    <a:pt x="109" y="90"/>
                    <a:pt x="111" y="0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rgbClr val="173F59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28" name="Freeform 10"/>
            <p:cNvSpPr>
              <a:spLocks/>
            </p:cNvSpPr>
            <p:nvPr/>
          </p:nvSpPr>
          <p:spPr bwMode="auto">
            <a:xfrm>
              <a:off x="5176020" y="3632930"/>
              <a:ext cx="356034" cy="356034"/>
            </a:xfrm>
            <a:custGeom>
              <a:avLst/>
              <a:gdLst>
                <a:gd name="T0" fmla="*/ 207 w 207"/>
                <a:gd name="T1" fmla="*/ 26 h 207"/>
                <a:gd name="T2" fmla="*/ 163 w 207"/>
                <a:gd name="T3" fmla="*/ 0 h 207"/>
                <a:gd name="T4" fmla="*/ 0 w 207"/>
                <a:gd name="T5" fmla="*/ 163 h 207"/>
                <a:gd name="T6" fmla="*/ 26 w 207"/>
                <a:gd name="T7" fmla="*/ 207 h 207"/>
                <a:gd name="T8" fmla="*/ 207 w 207"/>
                <a:gd name="T9" fmla="*/ 26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207">
                  <a:moveTo>
                    <a:pt x="207" y="26"/>
                  </a:moveTo>
                  <a:cubicBezTo>
                    <a:pt x="163" y="0"/>
                    <a:pt x="163" y="0"/>
                    <a:pt x="163" y="0"/>
                  </a:cubicBezTo>
                  <a:cubicBezTo>
                    <a:pt x="122" y="66"/>
                    <a:pt x="66" y="122"/>
                    <a:pt x="0" y="163"/>
                  </a:cubicBezTo>
                  <a:cubicBezTo>
                    <a:pt x="26" y="207"/>
                    <a:pt x="26" y="207"/>
                    <a:pt x="26" y="207"/>
                  </a:cubicBezTo>
                  <a:cubicBezTo>
                    <a:pt x="100" y="162"/>
                    <a:pt x="162" y="100"/>
                    <a:pt x="207" y="26"/>
                  </a:cubicBezTo>
                  <a:close/>
                </a:path>
              </a:pathLst>
            </a:custGeom>
            <a:solidFill>
              <a:srgbClr val="173F59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29" name="Freeform 11"/>
            <p:cNvSpPr>
              <a:spLocks/>
            </p:cNvSpPr>
            <p:nvPr/>
          </p:nvSpPr>
          <p:spPr bwMode="auto">
            <a:xfrm>
              <a:off x="4756252" y="3936217"/>
              <a:ext cx="427460" cy="189006"/>
            </a:xfrm>
            <a:custGeom>
              <a:avLst/>
              <a:gdLst>
                <a:gd name="T0" fmla="*/ 248 w 248"/>
                <a:gd name="T1" fmla="*/ 44 h 110"/>
                <a:gd name="T2" fmla="*/ 222 w 248"/>
                <a:gd name="T3" fmla="*/ 0 h 110"/>
                <a:gd name="T4" fmla="*/ 0 w 248"/>
                <a:gd name="T5" fmla="*/ 59 h 110"/>
                <a:gd name="T6" fmla="*/ 0 w 248"/>
                <a:gd name="T7" fmla="*/ 110 h 110"/>
                <a:gd name="T8" fmla="*/ 248 w 248"/>
                <a:gd name="T9" fmla="*/ 4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110">
                  <a:moveTo>
                    <a:pt x="248" y="44"/>
                  </a:moveTo>
                  <a:cubicBezTo>
                    <a:pt x="222" y="0"/>
                    <a:pt x="222" y="0"/>
                    <a:pt x="222" y="0"/>
                  </a:cubicBezTo>
                  <a:cubicBezTo>
                    <a:pt x="156" y="36"/>
                    <a:pt x="80" y="57"/>
                    <a:pt x="0" y="59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90" y="108"/>
                    <a:pt x="174" y="84"/>
                    <a:pt x="248" y="44"/>
                  </a:cubicBezTo>
                  <a:close/>
                </a:path>
              </a:pathLst>
            </a:custGeom>
            <a:solidFill>
              <a:srgbClr val="173F59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30" name="Freeform 12"/>
            <p:cNvSpPr>
              <a:spLocks/>
            </p:cNvSpPr>
            <p:nvPr/>
          </p:nvSpPr>
          <p:spPr bwMode="auto">
            <a:xfrm>
              <a:off x="4287036" y="3936217"/>
              <a:ext cx="425262" cy="189006"/>
            </a:xfrm>
            <a:custGeom>
              <a:avLst/>
              <a:gdLst>
                <a:gd name="T0" fmla="*/ 0 w 247"/>
                <a:gd name="T1" fmla="*/ 44 h 110"/>
                <a:gd name="T2" fmla="*/ 247 w 247"/>
                <a:gd name="T3" fmla="*/ 110 h 110"/>
                <a:gd name="T4" fmla="*/ 247 w 247"/>
                <a:gd name="T5" fmla="*/ 59 h 110"/>
                <a:gd name="T6" fmla="*/ 26 w 247"/>
                <a:gd name="T7" fmla="*/ 0 h 110"/>
                <a:gd name="T8" fmla="*/ 0 w 247"/>
                <a:gd name="T9" fmla="*/ 4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110">
                  <a:moveTo>
                    <a:pt x="0" y="44"/>
                  </a:moveTo>
                  <a:cubicBezTo>
                    <a:pt x="74" y="84"/>
                    <a:pt x="158" y="108"/>
                    <a:pt x="247" y="110"/>
                  </a:cubicBezTo>
                  <a:cubicBezTo>
                    <a:pt x="247" y="59"/>
                    <a:pt x="247" y="59"/>
                    <a:pt x="247" y="59"/>
                  </a:cubicBezTo>
                  <a:cubicBezTo>
                    <a:pt x="167" y="57"/>
                    <a:pt x="92" y="36"/>
                    <a:pt x="26" y="0"/>
                  </a:cubicBezTo>
                  <a:lnTo>
                    <a:pt x="0" y="44"/>
                  </a:lnTo>
                  <a:close/>
                </a:path>
              </a:pathLst>
            </a:custGeom>
            <a:solidFill>
              <a:srgbClr val="173F59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31" name="Freeform 13"/>
            <p:cNvSpPr>
              <a:spLocks/>
            </p:cNvSpPr>
            <p:nvPr/>
          </p:nvSpPr>
          <p:spPr bwMode="auto">
            <a:xfrm>
              <a:off x="3937595" y="3632930"/>
              <a:ext cx="354935" cy="356034"/>
            </a:xfrm>
            <a:custGeom>
              <a:avLst/>
              <a:gdLst>
                <a:gd name="T0" fmla="*/ 44 w 206"/>
                <a:gd name="T1" fmla="*/ 0 h 207"/>
                <a:gd name="T2" fmla="*/ 0 w 206"/>
                <a:gd name="T3" fmla="*/ 26 h 207"/>
                <a:gd name="T4" fmla="*/ 181 w 206"/>
                <a:gd name="T5" fmla="*/ 207 h 207"/>
                <a:gd name="T6" fmla="*/ 206 w 206"/>
                <a:gd name="T7" fmla="*/ 163 h 207"/>
                <a:gd name="T8" fmla="*/ 44 w 206"/>
                <a:gd name="T9" fmla="*/ 0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" h="207">
                  <a:moveTo>
                    <a:pt x="44" y="0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45" y="100"/>
                    <a:pt x="107" y="162"/>
                    <a:pt x="181" y="207"/>
                  </a:cubicBezTo>
                  <a:cubicBezTo>
                    <a:pt x="206" y="163"/>
                    <a:pt x="206" y="163"/>
                    <a:pt x="206" y="163"/>
                  </a:cubicBezTo>
                  <a:cubicBezTo>
                    <a:pt x="140" y="122"/>
                    <a:pt x="85" y="66"/>
                    <a:pt x="44" y="0"/>
                  </a:cubicBezTo>
                  <a:close/>
                </a:path>
              </a:pathLst>
            </a:custGeom>
            <a:solidFill>
              <a:srgbClr val="173F5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32" name="Freeform 14"/>
            <p:cNvSpPr>
              <a:spLocks/>
            </p:cNvSpPr>
            <p:nvPr/>
          </p:nvSpPr>
          <p:spPr bwMode="auto">
            <a:xfrm>
              <a:off x="3800237" y="3213162"/>
              <a:ext cx="191203" cy="427460"/>
            </a:xfrm>
            <a:custGeom>
              <a:avLst/>
              <a:gdLst>
                <a:gd name="T0" fmla="*/ 0 w 111"/>
                <a:gd name="T1" fmla="*/ 0 h 248"/>
                <a:gd name="T2" fmla="*/ 67 w 111"/>
                <a:gd name="T3" fmla="*/ 248 h 248"/>
                <a:gd name="T4" fmla="*/ 111 w 111"/>
                <a:gd name="T5" fmla="*/ 222 h 248"/>
                <a:gd name="T6" fmla="*/ 51 w 111"/>
                <a:gd name="T7" fmla="*/ 0 h 248"/>
                <a:gd name="T8" fmla="*/ 0 w 111"/>
                <a:gd name="T9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248">
                  <a:moveTo>
                    <a:pt x="0" y="0"/>
                  </a:moveTo>
                  <a:cubicBezTo>
                    <a:pt x="2" y="90"/>
                    <a:pt x="26" y="174"/>
                    <a:pt x="67" y="248"/>
                  </a:cubicBezTo>
                  <a:cubicBezTo>
                    <a:pt x="111" y="222"/>
                    <a:pt x="111" y="222"/>
                    <a:pt x="111" y="222"/>
                  </a:cubicBezTo>
                  <a:cubicBezTo>
                    <a:pt x="75" y="156"/>
                    <a:pt x="53" y="80"/>
                    <a:pt x="5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173F5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34" name="Freeform 15"/>
            <p:cNvSpPr>
              <a:spLocks/>
            </p:cNvSpPr>
            <p:nvPr/>
          </p:nvSpPr>
          <p:spPr bwMode="auto">
            <a:xfrm>
              <a:off x="3800237" y="2743946"/>
              <a:ext cx="191203" cy="425262"/>
            </a:xfrm>
            <a:custGeom>
              <a:avLst/>
              <a:gdLst>
                <a:gd name="T0" fmla="*/ 51 w 111"/>
                <a:gd name="T1" fmla="*/ 247 h 247"/>
                <a:gd name="T2" fmla="*/ 111 w 111"/>
                <a:gd name="T3" fmla="*/ 26 h 247"/>
                <a:gd name="T4" fmla="*/ 67 w 111"/>
                <a:gd name="T5" fmla="*/ 0 h 247"/>
                <a:gd name="T6" fmla="*/ 0 w 111"/>
                <a:gd name="T7" fmla="*/ 247 h 247"/>
                <a:gd name="T8" fmla="*/ 51 w 111"/>
                <a:gd name="T9" fmla="*/ 247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247">
                  <a:moveTo>
                    <a:pt x="51" y="247"/>
                  </a:moveTo>
                  <a:cubicBezTo>
                    <a:pt x="53" y="167"/>
                    <a:pt x="75" y="92"/>
                    <a:pt x="111" y="2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26" y="74"/>
                    <a:pt x="2" y="158"/>
                    <a:pt x="0" y="247"/>
                  </a:cubicBezTo>
                  <a:lnTo>
                    <a:pt x="51" y="247"/>
                  </a:lnTo>
                  <a:close/>
                </a:path>
              </a:pathLst>
            </a:custGeom>
            <a:solidFill>
              <a:srgbClr val="173F5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35" name="Freeform 16"/>
            <p:cNvSpPr>
              <a:spLocks/>
            </p:cNvSpPr>
            <p:nvPr/>
          </p:nvSpPr>
          <p:spPr bwMode="auto">
            <a:xfrm>
              <a:off x="3937595" y="2394505"/>
              <a:ext cx="354935" cy="354935"/>
            </a:xfrm>
            <a:custGeom>
              <a:avLst/>
              <a:gdLst>
                <a:gd name="T0" fmla="*/ 0 w 206"/>
                <a:gd name="T1" fmla="*/ 181 h 206"/>
                <a:gd name="T2" fmla="*/ 44 w 206"/>
                <a:gd name="T3" fmla="*/ 206 h 206"/>
                <a:gd name="T4" fmla="*/ 206 w 206"/>
                <a:gd name="T5" fmla="*/ 44 h 206"/>
                <a:gd name="T6" fmla="*/ 181 w 206"/>
                <a:gd name="T7" fmla="*/ 0 h 206"/>
                <a:gd name="T8" fmla="*/ 0 w 206"/>
                <a:gd name="T9" fmla="*/ 181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" h="206">
                  <a:moveTo>
                    <a:pt x="0" y="181"/>
                  </a:moveTo>
                  <a:cubicBezTo>
                    <a:pt x="44" y="206"/>
                    <a:pt x="44" y="206"/>
                    <a:pt x="44" y="206"/>
                  </a:cubicBezTo>
                  <a:cubicBezTo>
                    <a:pt x="85" y="140"/>
                    <a:pt x="140" y="85"/>
                    <a:pt x="206" y="44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07" y="45"/>
                    <a:pt x="45" y="107"/>
                    <a:pt x="0" y="181"/>
                  </a:cubicBezTo>
                  <a:close/>
                </a:path>
              </a:pathLst>
            </a:custGeom>
            <a:solidFill>
              <a:srgbClr val="173F5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36" name="Freeform 17"/>
            <p:cNvSpPr>
              <a:spLocks/>
            </p:cNvSpPr>
            <p:nvPr/>
          </p:nvSpPr>
          <p:spPr bwMode="auto">
            <a:xfrm>
              <a:off x="4287036" y="2257147"/>
              <a:ext cx="425262" cy="191203"/>
            </a:xfrm>
            <a:custGeom>
              <a:avLst/>
              <a:gdLst>
                <a:gd name="T0" fmla="*/ 0 w 247"/>
                <a:gd name="T1" fmla="*/ 67 h 111"/>
                <a:gd name="T2" fmla="*/ 25 w 247"/>
                <a:gd name="T3" fmla="*/ 111 h 111"/>
                <a:gd name="T4" fmla="*/ 247 w 247"/>
                <a:gd name="T5" fmla="*/ 51 h 111"/>
                <a:gd name="T6" fmla="*/ 247 w 247"/>
                <a:gd name="T7" fmla="*/ 0 h 111"/>
                <a:gd name="T8" fmla="*/ 0 w 247"/>
                <a:gd name="T9" fmla="*/ 6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111">
                  <a:moveTo>
                    <a:pt x="0" y="67"/>
                  </a:moveTo>
                  <a:cubicBezTo>
                    <a:pt x="25" y="111"/>
                    <a:pt x="25" y="111"/>
                    <a:pt x="25" y="111"/>
                  </a:cubicBezTo>
                  <a:cubicBezTo>
                    <a:pt x="92" y="75"/>
                    <a:pt x="167" y="53"/>
                    <a:pt x="247" y="51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158" y="2"/>
                    <a:pt x="74" y="26"/>
                    <a:pt x="0" y="67"/>
                  </a:cubicBezTo>
                  <a:close/>
                </a:path>
              </a:pathLst>
            </a:custGeom>
            <a:solidFill>
              <a:srgbClr val="CCE3F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</p:grpSp>
      <p:sp>
        <p:nvSpPr>
          <p:cNvPr id="37" name="Oval 5"/>
          <p:cNvSpPr>
            <a:spLocks noChangeArrowheads="1"/>
          </p:cNvSpPr>
          <p:nvPr/>
        </p:nvSpPr>
        <p:spPr bwMode="auto">
          <a:xfrm>
            <a:off x="6858602" y="2792892"/>
            <a:ext cx="1521933" cy="1521933"/>
          </a:xfrm>
          <a:prstGeom prst="ellipse">
            <a:avLst/>
          </a:pr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微软雅黑" panose="020B0503020204020204" pitchFamily="34" charset="-122"/>
            </a:endParaRPr>
          </a:p>
        </p:txBody>
      </p:sp>
      <p:grpSp>
        <p:nvGrpSpPr>
          <p:cNvPr id="38" name="Group 33"/>
          <p:cNvGrpSpPr/>
          <p:nvPr/>
        </p:nvGrpSpPr>
        <p:grpSpPr>
          <a:xfrm>
            <a:off x="6684980" y="2619270"/>
            <a:ext cx="1868076" cy="1868076"/>
            <a:chOff x="6546413" y="2257147"/>
            <a:chExt cx="1868076" cy="1868076"/>
          </a:xfrm>
        </p:grpSpPr>
        <p:sp>
          <p:nvSpPr>
            <p:cNvPr id="39" name="Freeform 6"/>
            <p:cNvSpPr>
              <a:spLocks/>
            </p:cNvSpPr>
            <p:nvPr/>
          </p:nvSpPr>
          <p:spPr bwMode="auto">
            <a:xfrm>
              <a:off x="7922196" y="2394505"/>
              <a:ext cx="356034" cy="354935"/>
            </a:xfrm>
            <a:custGeom>
              <a:avLst/>
              <a:gdLst>
                <a:gd name="T0" fmla="*/ 207 w 207"/>
                <a:gd name="T1" fmla="*/ 181 h 206"/>
                <a:gd name="T2" fmla="*/ 26 w 207"/>
                <a:gd name="T3" fmla="*/ 0 h 206"/>
                <a:gd name="T4" fmla="*/ 0 w 207"/>
                <a:gd name="T5" fmla="*/ 44 h 206"/>
                <a:gd name="T6" fmla="*/ 163 w 207"/>
                <a:gd name="T7" fmla="*/ 206 h 206"/>
                <a:gd name="T8" fmla="*/ 207 w 207"/>
                <a:gd name="T9" fmla="*/ 181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206">
                  <a:moveTo>
                    <a:pt x="207" y="181"/>
                  </a:moveTo>
                  <a:cubicBezTo>
                    <a:pt x="162" y="107"/>
                    <a:pt x="100" y="45"/>
                    <a:pt x="26" y="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66" y="85"/>
                    <a:pt x="122" y="140"/>
                    <a:pt x="163" y="206"/>
                  </a:cubicBezTo>
                  <a:lnTo>
                    <a:pt x="207" y="18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40" name="Freeform 7"/>
            <p:cNvSpPr>
              <a:spLocks/>
            </p:cNvSpPr>
            <p:nvPr/>
          </p:nvSpPr>
          <p:spPr bwMode="auto">
            <a:xfrm>
              <a:off x="7502428" y="2257147"/>
              <a:ext cx="427460" cy="191203"/>
            </a:xfrm>
            <a:custGeom>
              <a:avLst/>
              <a:gdLst>
                <a:gd name="T0" fmla="*/ 0 w 248"/>
                <a:gd name="T1" fmla="*/ 0 h 111"/>
                <a:gd name="T2" fmla="*/ 0 w 248"/>
                <a:gd name="T3" fmla="*/ 51 h 111"/>
                <a:gd name="T4" fmla="*/ 222 w 248"/>
                <a:gd name="T5" fmla="*/ 111 h 111"/>
                <a:gd name="T6" fmla="*/ 248 w 248"/>
                <a:gd name="T7" fmla="*/ 67 h 111"/>
                <a:gd name="T8" fmla="*/ 0 w 248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111">
                  <a:moveTo>
                    <a:pt x="0" y="0"/>
                  </a:moveTo>
                  <a:cubicBezTo>
                    <a:pt x="0" y="51"/>
                    <a:pt x="0" y="51"/>
                    <a:pt x="0" y="51"/>
                  </a:cubicBezTo>
                  <a:cubicBezTo>
                    <a:pt x="80" y="53"/>
                    <a:pt x="156" y="75"/>
                    <a:pt x="222" y="111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174" y="26"/>
                    <a:pt x="90" y="2"/>
                    <a:pt x="0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41" name="Freeform 8"/>
            <p:cNvSpPr>
              <a:spLocks/>
            </p:cNvSpPr>
            <p:nvPr/>
          </p:nvSpPr>
          <p:spPr bwMode="auto">
            <a:xfrm>
              <a:off x="8223286" y="2743946"/>
              <a:ext cx="191203" cy="425262"/>
            </a:xfrm>
            <a:custGeom>
              <a:avLst/>
              <a:gdLst>
                <a:gd name="T0" fmla="*/ 45 w 111"/>
                <a:gd name="T1" fmla="*/ 0 h 247"/>
                <a:gd name="T2" fmla="*/ 0 w 111"/>
                <a:gd name="T3" fmla="*/ 26 h 247"/>
                <a:gd name="T4" fmla="*/ 60 w 111"/>
                <a:gd name="T5" fmla="*/ 247 h 247"/>
                <a:gd name="T6" fmla="*/ 111 w 111"/>
                <a:gd name="T7" fmla="*/ 247 h 247"/>
                <a:gd name="T8" fmla="*/ 45 w 111"/>
                <a:gd name="T9" fmla="*/ 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247">
                  <a:moveTo>
                    <a:pt x="45" y="0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37" y="92"/>
                    <a:pt x="58" y="167"/>
                    <a:pt x="60" y="247"/>
                  </a:cubicBezTo>
                  <a:cubicBezTo>
                    <a:pt x="111" y="247"/>
                    <a:pt x="111" y="247"/>
                    <a:pt x="111" y="247"/>
                  </a:cubicBezTo>
                  <a:cubicBezTo>
                    <a:pt x="109" y="158"/>
                    <a:pt x="85" y="74"/>
                    <a:pt x="4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42" name="Freeform 9"/>
            <p:cNvSpPr>
              <a:spLocks/>
            </p:cNvSpPr>
            <p:nvPr/>
          </p:nvSpPr>
          <p:spPr bwMode="auto">
            <a:xfrm>
              <a:off x="8223286" y="3213162"/>
              <a:ext cx="191203" cy="427460"/>
            </a:xfrm>
            <a:custGeom>
              <a:avLst/>
              <a:gdLst>
                <a:gd name="T0" fmla="*/ 60 w 111"/>
                <a:gd name="T1" fmla="*/ 0 h 248"/>
                <a:gd name="T2" fmla="*/ 0 w 111"/>
                <a:gd name="T3" fmla="*/ 222 h 248"/>
                <a:gd name="T4" fmla="*/ 45 w 111"/>
                <a:gd name="T5" fmla="*/ 248 h 248"/>
                <a:gd name="T6" fmla="*/ 111 w 111"/>
                <a:gd name="T7" fmla="*/ 0 h 248"/>
                <a:gd name="T8" fmla="*/ 60 w 111"/>
                <a:gd name="T9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248">
                  <a:moveTo>
                    <a:pt x="60" y="0"/>
                  </a:moveTo>
                  <a:cubicBezTo>
                    <a:pt x="58" y="80"/>
                    <a:pt x="37" y="156"/>
                    <a:pt x="0" y="222"/>
                  </a:cubicBezTo>
                  <a:cubicBezTo>
                    <a:pt x="45" y="248"/>
                    <a:pt x="45" y="248"/>
                    <a:pt x="45" y="248"/>
                  </a:cubicBezTo>
                  <a:cubicBezTo>
                    <a:pt x="85" y="174"/>
                    <a:pt x="109" y="90"/>
                    <a:pt x="111" y="0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rgbClr val="FDECEC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43" name="Freeform 10"/>
            <p:cNvSpPr>
              <a:spLocks/>
            </p:cNvSpPr>
            <p:nvPr/>
          </p:nvSpPr>
          <p:spPr bwMode="auto">
            <a:xfrm>
              <a:off x="7922196" y="3632930"/>
              <a:ext cx="356034" cy="356034"/>
            </a:xfrm>
            <a:custGeom>
              <a:avLst/>
              <a:gdLst>
                <a:gd name="T0" fmla="*/ 207 w 207"/>
                <a:gd name="T1" fmla="*/ 26 h 207"/>
                <a:gd name="T2" fmla="*/ 163 w 207"/>
                <a:gd name="T3" fmla="*/ 0 h 207"/>
                <a:gd name="T4" fmla="*/ 0 w 207"/>
                <a:gd name="T5" fmla="*/ 163 h 207"/>
                <a:gd name="T6" fmla="*/ 26 w 207"/>
                <a:gd name="T7" fmla="*/ 207 h 207"/>
                <a:gd name="T8" fmla="*/ 207 w 207"/>
                <a:gd name="T9" fmla="*/ 26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207">
                  <a:moveTo>
                    <a:pt x="207" y="26"/>
                  </a:moveTo>
                  <a:cubicBezTo>
                    <a:pt x="163" y="0"/>
                    <a:pt x="163" y="0"/>
                    <a:pt x="163" y="0"/>
                  </a:cubicBezTo>
                  <a:cubicBezTo>
                    <a:pt x="122" y="66"/>
                    <a:pt x="66" y="122"/>
                    <a:pt x="0" y="163"/>
                  </a:cubicBezTo>
                  <a:cubicBezTo>
                    <a:pt x="26" y="207"/>
                    <a:pt x="26" y="207"/>
                    <a:pt x="26" y="207"/>
                  </a:cubicBezTo>
                  <a:cubicBezTo>
                    <a:pt x="100" y="162"/>
                    <a:pt x="162" y="100"/>
                    <a:pt x="207" y="26"/>
                  </a:cubicBezTo>
                  <a:close/>
                </a:path>
              </a:pathLst>
            </a:custGeom>
            <a:solidFill>
              <a:srgbClr val="FDECEC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44" name="Freeform 11"/>
            <p:cNvSpPr>
              <a:spLocks/>
            </p:cNvSpPr>
            <p:nvPr/>
          </p:nvSpPr>
          <p:spPr bwMode="auto">
            <a:xfrm>
              <a:off x="7502428" y="3936217"/>
              <a:ext cx="427460" cy="189006"/>
            </a:xfrm>
            <a:custGeom>
              <a:avLst/>
              <a:gdLst>
                <a:gd name="T0" fmla="*/ 248 w 248"/>
                <a:gd name="T1" fmla="*/ 44 h 110"/>
                <a:gd name="T2" fmla="*/ 222 w 248"/>
                <a:gd name="T3" fmla="*/ 0 h 110"/>
                <a:gd name="T4" fmla="*/ 0 w 248"/>
                <a:gd name="T5" fmla="*/ 59 h 110"/>
                <a:gd name="T6" fmla="*/ 0 w 248"/>
                <a:gd name="T7" fmla="*/ 110 h 110"/>
                <a:gd name="T8" fmla="*/ 248 w 248"/>
                <a:gd name="T9" fmla="*/ 4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110">
                  <a:moveTo>
                    <a:pt x="248" y="44"/>
                  </a:moveTo>
                  <a:cubicBezTo>
                    <a:pt x="222" y="0"/>
                    <a:pt x="222" y="0"/>
                    <a:pt x="222" y="0"/>
                  </a:cubicBezTo>
                  <a:cubicBezTo>
                    <a:pt x="156" y="36"/>
                    <a:pt x="80" y="57"/>
                    <a:pt x="0" y="59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90" y="108"/>
                    <a:pt x="174" y="84"/>
                    <a:pt x="248" y="44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  <a:alpha val="2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45" name="Freeform 12"/>
            <p:cNvSpPr>
              <a:spLocks/>
            </p:cNvSpPr>
            <p:nvPr/>
          </p:nvSpPr>
          <p:spPr bwMode="auto">
            <a:xfrm>
              <a:off x="7033212" y="3936217"/>
              <a:ext cx="425262" cy="189006"/>
            </a:xfrm>
            <a:custGeom>
              <a:avLst/>
              <a:gdLst>
                <a:gd name="T0" fmla="*/ 0 w 247"/>
                <a:gd name="T1" fmla="*/ 44 h 110"/>
                <a:gd name="T2" fmla="*/ 247 w 247"/>
                <a:gd name="T3" fmla="*/ 110 h 110"/>
                <a:gd name="T4" fmla="*/ 247 w 247"/>
                <a:gd name="T5" fmla="*/ 59 h 110"/>
                <a:gd name="T6" fmla="*/ 26 w 247"/>
                <a:gd name="T7" fmla="*/ 0 h 110"/>
                <a:gd name="T8" fmla="*/ 0 w 247"/>
                <a:gd name="T9" fmla="*/ 4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110">
                  <a:moveTo>
                    <a:pt x="0" y="44"/>
                  </a:moveTo>
                  <a:cubicBezTo>
                    <a:pt x="74" y="84"/>
                    <a:pt x="158" y="108"/>
                    <a:pt x="247" y="110"/>
                  </a:cubicBezTo>
                  <a:cubicBezTo>
                    <a:pt x="247" y="59"/>
                    <a:pt x="247" y="59"/>
                    <a:pt x="247" y="59"/>
                  </a:cubicBezTo>
                  <a:cubicBezTo>
                    <a:pt x="167" y="57"/>
                    <a:pt x="92" y="36"/>
                    <a:pt x="26" y="0"/>
                  </a:cubicBezTo>
                  <a:lnTo>
                    <a:pt x="0" y="44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  <a:alpha val="2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46" name="Freeform 13"/>
            <p:cNvSpPr>
              <a:spLocks/>
            </p:cNvSpPr>
            <p:nvPr/>
          </p:nvSpPr>
          <p:spPr bwMode="auto">
            <a:xfrm>
              <a:off x="6683771" y="3632930"/>
              <a:ext cx="354935" cy="356034"/>
            </a:xfrm>
            <a:custGeom>
              <a:avLst/>
              <a:gdLst>
                <a:gd name="T0" fmla="*/ 44 w 206"/>
                <a:gd name="T1" fmla="*/ 0 h 207"/>
                <a:gd name="T2" fmla="*/ 0 w 206"/>
                <a:gd name="T3" fmla="*/ 26 h 207"/>
                <a:gd name="T4" fmla="*/ 181 w 206"/>
                <a:gd name="T5" fmla="*/ 207 h 207"/>
                <a:gd name="T6" fmla="*/ 206 w 206"/>
                <a:gd name="T7" fmla="*/ 163 h 207"/>
                <a:gd name="T8" fmla="*/ 44 w 206"/>
                <a:gd name="T9" fmla="*/ 0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" h="207">
                  <a:moveTo>
                    <a:pt x="44" y="0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45" y="100"/>
                    <a:pt x="107" y="162"/>
                    <a:pt x="181" y="207"/>
                  </a:cubicBezTo>
                  <a:cubicBezTo>
                    <a:pt x="206" y="163"/>
                    <a:pt x="206" y="163"/>
                    <a:pt x="206" y="163"/>
                  </a:cubicBezTo>
                  <a:cubicBezTo>
                    <a:pt x="140" y="122"/>
                    <a:pt x="85" y="66"/>
                    <a:pt x="44" y="0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  <a:alpha val="2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47" name="Freeform 14"/>
            <p:cNvSpPr>
              <a:spLocks/>
            </p:cNvSpPr>
            <p:nvPr/>
          </p:nvSpPr>
          <p:spPr bwMode="auto">
            <a:xfrm>
              <a:off x="6546413" y="3213162"/>
              <a:ext cx="191203" cy="427460"/>
            </a:xfrm>
            <a:custGeom>
              <a:avLst/>
              <a:gdLst>
                <a:gd name="T0" fmla="*/ 0 w 111"/>
                <a:gd name="T1" fmla="*/ 0 h 248"/>
                <a:gd name="T2" fmla="*/ 67 w 111"/>
                <a:gd name="T3" fmla="*/ 248 h 248"/>
                <a:gd name="T4" fmla="*/ 111 w 111"/>
                <a:gd name="T5" fmla="*/ 222 h 248"/>
                <a:gd name="T6" fmla="*/ 51 w 111"/>
                <a:gd name="T7" fmla="*/ 0 h 248"/>
                <a:gd name="T8" fmla="*/ 0 w 111"/>
                <a:gd name="T9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248">
                  <a:moveTo>
                    <a:pt x="0" y="0"/>
                  </a:moveTo>
                  <a:cubicBezTo>
                    <a:pt x="2" y="90"/>
                    <a:pt x="26" y="174"/>
                    <a:pt x="67" y="248"/>
                  </a:cubicBezTo>
                  <a:cubicBezTo>
                    <a:pt x="111" y="222"/>
                    <a:pt x="111" y="222"/>
                    <a:pt x="111" y="222"/>
                  </a:cubicBezTo>
                  <a:cubicBezTo>
                    <a:pt x="75" y="156"/>
                    <a:pt x="53" y="80"/>
                    <a:pt x="5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  <a:alpha val="2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48" name="Freeform 15"/>
            <p:cNvSpPr>
              <a:spLocks/>
            </p:cNvSpPr>
            <p:nvPr/>
          </p:nvSpPr>
          <p:spPr bwMode="auto">
            <a:xfrm>
              <a:off x="6546413" y="2743946"/>
              <a:ext cx="191203" cy="425262"/>
            </a:xfrm>
            <a:custGeom>
              <a:avLst/>
              <a:gdLst>
                <a:gd name="T0" fmla="*/ 51 w 111"/>
                <a:gd name="T1" fmla="*/ 247 h 247"/>
                <a:gd name="T2" fmla="*/ 111 w 111"/>
                <a:gd name="T3" fmla="*/ 26 h 247"/>
                <a:gd name="T4" fmla="*/ 67 w 111"/>
                <a:gd name="T5" fmla="*/ 0 h 247"/>
                <a:gd name="T6" fmla="*/ 0 w 111"/>
                <a:gd name="T7" fmla="*/ 247 h 247"/>
                <a:gd name="T8" fmla="*/ 51 w 111"/>
                <a:gd name="T9" fmla="*/ 247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247">
                  <a:moveTo>
                    <a:pt x="51" y="247"/>
                  </a:moveTo>
                  <a:cubicBezTo>
                    <a:pt x="53" y="167"/>
                    <a:pt x="75" y="92"/>
                    <a:pt x="111" y="2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26" y="74"/>
                    <a:pt x="2" y="158"/>
                    <a:pt x="0" y="247"/>
                  </a:cubicBezTo>
                  <a:lnTo>
                    <a:pt x="51" y="247"/>
                  </a:lnTo>
                  <a:close/>
                </a:path>
              </a:pathLst>
            </a:custGeom>
            <a:solidFill>
              <a:schemeClr val="accent4">
                <a:lumMod val="40000"/>
                <a:lumOff val="60000"/>
                <a:alpha val="2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49" name="Freeform 16"/>
            <p:cNvSpPr>
              <a:spLocks/>
            </p:cNvSpPr>
            <p:nvPr/>
          </p:nvSpPr>
          <p:spPr bwMode="auto">
            <a:xfrm>
              <a:off x="6683771" y="2394505"/>
              <a:ext cx="354935" cy="354935"/>
            </a:xfrm>
            <a:custGeom>
              <a:avLst/>
              <a:gdLst>
                <a:gd name="T0" fmla="*/ 0 w 206"/>
                <a:gd name="T1" fmla="*/ 181 h 206"/>
                <a:gd name="T2" fmla="*/ 44 w 206"/>
                <a:gd name="T3" fmla="*/ 206 h 206"/>
                <a:gd name="T4" fmla="*/ 206 w 206"/>
                <a:gd name="T5" fmla="*/ 44 h 206"/>
                <a:gd name="T6" fmla="*/ 181 w 206"/>
                <a:gd name="T7" fmla="*/ 0 h 206"/>
                <a:gd name="T8" fmla="*/ 0 w 206"/>
                <a:gd name="T9" fmla="*/ 181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" h="206">
                  <a:moveTo>
                    <a:pt x="0" y="181"/>
                  </a:moveTo>
                  <a:cubicBezTo>
                    <a:pt x="44" y="206"/>
                    <a:pt x="44" y="206"/>
                    <a:pt x="44" y="206"/>
                  </a:cubicBezTo>
                  <a:cubicBezTo>
                    <a:pt x="85" y="140"/>
                    <a:pt x="140" y="85"/>
                    <a:pt x="206" y="44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07" y="45"/>
                    <a:pt x="45" y="107"/>
                    <a:pt x="0" y="181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  <a:alpha val="2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50" name="Freeform 17"/>
            <p:cNvSpPr>
              <a:spLocks/>
            </p:cNvSpPr>
            <p:nvPr/>
          </p:nvSpPr>
          <p:spPr bwMode="auto">
            <a:xfrm>
              <a:off x="7033212" y="2257147"/>
              <a:ext cx="425262" cy="191203"/>
            </a:xfrm>
            <a:custGeom>
              <a:avLst/>
              <a:gdLst>
                <a:gd name="T0" fmla="*/ 0 w 247"/>
                <a:gd name="T1" fmla="*/ 67 h 111"/>
                <a:gd name="T2" fmla="*/ 25 w 247"/>
                <a:gd name="T3" fmla="*/ 111 h 111"/>
                <a:gd name="T4" fmla="*/ 247 w 247"/>
                <a:gd name="T5" fmla="*/ 51 h 111"/>
                <a:gd name="T6" fmla="*/ 247 w 247"/>
                <a:gd name="T7" fmla="*/ 0 h 111"/>
                <a:gd name="T8" fmla="*/ 0 w 247"/>
                <a:gd name="T9" fmla="*/ 6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111">
                  <a:moveTo>
                    <a:pt x="0" y="67"/>
                  </a:moveTo>
                  <a:cubicBezTo>
                    <a:pt x="25" y="111"/>
                    <a:pt x="25" y="111"/>
                    <a:pt x="25" y="111"/>
                  </a:cubicBezTo>
                  <a:cubicBezTo>
                    <a:pt x="92" y="75"/>
                    <a:pt x="167" y="53"/>
                    <a:pt x="247" y="51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158" y="2"/>
                    <a:pt x="74" y="26"/>
                    <a:pt x="0" y="67"/>
                  </a:cubicBezTo>
                  <a:close/>
                </a:path>
              </a:pathLst>
            </a:custGeom>
            <a:solidFill>
              <a:schemeClr val="accent4">
                <a:lumMod val="40000"/>
                <a:lumOff val="60000"/>
                <a:alpha val="2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</p:grpSp>
      <p:sp>
        <p:nvSpPr>
          <p:cNvPr id="51" name="Oval 5"/>
          <p:cNvSpPr>
            <a:spLocks noChangeArrowheads="1"/>
          </p:cNvSpPr>
          <p:nvPr/>
        </p:nvSpPr>
        <p:spPr bwMode="auto">
          <a:xfrm>
            <a:off x="9880225" y="2801275"/>
            <a:ext cx="1521933" cy="1521933"/>
          </a:xfrm>
          <a:prstGeom prst="ellipse">
            <a:avLst/>
          </a:prstGeom>
          <a:solidFill>
            <a:schemeClr val="accent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微软雅黑" panose="020B0503020204020204" pitchFamily="34" charset="-122"/>
            </a:endParaRPr>
          </a:p>
        </p:txBody>
      </p:sp>
      <p:grpSp>
        <p:nvGrpSpPr>
          <p:cNvPr id="52" name="Group 47"/>
          <p:cNvGrpSpPr/>
          <p:nvPr/>
        </p:nvGrpSpPr>
        <p:grpSpPr>
          <a:xfrm>
            <a:off x="9706603" y="2627653"/>
            <a:ext cx="1868076" cy="1868076"/>
            <a:chOff x="9237196" y="2257147"/>
            <a:chExt cx="1868076" cy="1868076"/>
          </a:xfrm>
        </p:grpSpPr>
        <p:sp>
          <p:nvSpPr>
            <p:cNvPr id="53" name="Freeform 6"/>
            <p:cNvSpPr>
              <a:spLocks/>
            </p:cNvSpPr>
            <p:nvPr/>
          </p:nvSpPr>
          <p:spPr bwMode="auto">
            <a:xfrm>
              <a:off x="10612979" y="2394505"/>
              <a:ext cx="356034" cy="354935"/>
            </a:xfrm>
            <a:custGeom>
              <a:avLst/>
              <a:gdLst>
                <a:gd name="T0" fmla="*/ 207 w 207"/>
                <a:gd name="T1" fmla="*/ 181 h 206"/>
                <a:gd name="T2" fmla="*/ 26 w 207"/>
                <a:gd name="T3" fmla="*/ 0 h 206"/>
                <a:gd name="T4" fmla="*/ 0 w 207"/>
                <a:gd name="T5" fmla="*/ 44 h 206"/>
                <a:gd name="T6" fmla="*/ 163 w 207"/>
                <a:gd name="T7" fmla="*/ 206 h 206"/>
                <a:gd name="T8" fmla="*/ 207 w 207"/>
                <a:gd name="T9" fmla="*/ 181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206">
                  <a:moveTo>
                    <a:pt x="207" y="181"/>
                  </a:moveTo>
                  <a:cubicBezTo>
                    <a:pt x="162" y="107"/>
                    <a:pt x="100" y="45"/>
                    <a:pt x="26" y="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66" y="85"/>
                    <a:pt x="122" y="140"/>
                    <a:pt x="163" y="206"/>
                  </a:cubicBezTo>
                  <a:lnTo>
                    <a:pt x="207" y="18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54" name="Freeform 7"/>
            <p:cNvSpPr>
              <a:spLocks/>
            </p:cNvSpPr>
            <p:nvPr/>
          </p:nvSpPr>
          <p:spPr bwMode="auto">
            <a:xfrm>
              <a:off x="10193211" y="2257147"/>
              <a:ext cx="427460" cy="191203"/>
            </a:xfrm>
            <a:custGeom>
              <a:avLst/>
              <a:gdLst>
                <a:gd name="T0" fmla="*/ 0 w 248"/>
                <a:gd name="T1" fmla="*/ 0 h 111"/>
                <a:gd name="T2" fmla="*/ 0 w 248"/>
                <a:gd name="T3" fmla="*/ 51 h 111"/>
                <a:gd name="T4" fmla="*/ 222 w 248"/>
                <a:gd name="T5" fmla="*/ 111 h 111"/>
                <a:gd name="T6" fmla="*/ 248 w 248"/>
                <a:gd name="T7" fmla="*/ 67 h 111"/>
                <a:gd name="T8" fmla="*/ 0 w 248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111">
                  <a:moveTo>
                    <a:pt x="0" y="0"/>
                  </a:moveTo>
                  <a:cubicBezTo>
                    <a:pt x="0" y="51"/>
                    <a:pt x="0" y="51"/>
                    <a:pt x="0" y="51"/>
                  </a:cubicBezTo>
                  <a:cubicBezTo>
                    <a:pt x="80" y="53"/>
                    <a:pt x="156" y="75"/>
                    <a:pt x="222" y="111"/>
                  </a:cubicBezTo>
                  <a:cubicBezTo>
                    <a:pt x="248" y="67"/>
                    <a:pt x="248" y="67"/>
                    <a:pt x="248" y="67"/>
                  </a:cubicBezTo>
                  <a:cubicBezTo>
                    <a:pt x="174" y="26"/>
                    <a:pt x="90" y="2"/>
                    <a:pt x="0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55" name="Freeform 8"/>
            <p:cNvSpPr>
              <a:spLocks/>
            </p:cNvSpPr>
            <p:nvPr/>
          </p:nvSpPr>
          <p:spPr bwMode="auto">
            <a:xfrm>
              <a:off x="10914069" y="2743946"/>
              <a:ext cx="191203" cy="425262"/>
            </a:xfrm>
            <a:custGeom>
              <a:avLst/>
              <a:gdLst>
                <a:gd name="T0" fmla="*/ 45 w 111"/>
                <a:gd name="T1" fmla="*/ 0 h 247"/>
                <a:gd name="T2" fmla="*/ 0 w 111"/>
                <a:gd name="T3" fmla="*/ 26 h 247"/>
                <a:gd name="T4" fmla="*/ 60 w 111"/>
                <a:gd name="T5" fmla="*/ 247 h 247"/>
                <a:gd name="T6" fmla="*/ 111 w 111"/>
                <a:gd name="T7" fmla="*/ 247 h 247"/>
                <a:gd name="T8" fmla="*/ 45 w 111"/>
                <a:gd name="T9" fmla="*/ 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247">
                  <a:moveTo>
                    <a:pt x="45" y="0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37" y="92"/>
                    <a:pt x="58" y="167"/>
                    <a:pt x="60" y="247"/>
                  </a:cubicBezTo>
                  <a:cubicBezTo>
                    <a:pt x="111" y="247"/>
                    <a:pt x="111" y="247"/>
                    <a:pt x="111" y="247"/>
                  </a:cubicBezTo>
                  <a:cubicBezTo>
                    <a:pt x="109" y="158"/>
                    <a:pt x="85" y="74"/>
                    <a:pt x="45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56" name="Freeform 9"/>
            <p:cNvSpPr>
              <a:spLocks/>
            </p:cNvSpPr>
            <p:nvPr/>
          </p:nvSpPr>
          <p:spPr bwMode="auto">
            <a:xfrm>
              <a:off x="10914069" y="3213162"/>
              <a:ext cx="191203" cy="427460"/>
            </a:xfrm>
            <a:custGeom>
              <a:avLst/>
              <a:gdLst>
                <a:gd name="T0" fmla="*/ 60 w 111"/>
                <a:gd name="T1" fmla="*/ 0 h 248"/>
                <a:gd name="T2" fmla="*/ 0 w 111"/>
                <a:gd name="T3" fmla="*/ 222 h 248"/>
                <a:gd name="T4" fmla="*/ 45 w 111"/>
                <a:gd name="T5" fmla="*/ 248 h 248"/>
                <a:gd name="T6" fmla="*/ 111 w 111"/>
                <a:gd name="T7" fmla="*/ 0 h 248"/>
                <a:gd name="T8" fmla="*/ 60 w 111"/>
                <a:gd name="T9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248">
                  <a:moveTo>
                    <a:pt x="60" y="0"/>
                  </a:moveTo>
                  <a:cubicBezTo>
                    <a:pt x="58" y="80"/>
                    <a:pt x="37" y="156"/>
                    <a:pt x="0" y="222"/>
                  </a:cubicBezTo>
                  <a:cubicBezTo>
                    <a:pt x="45" y="248"/>
                    <a:pt x="45" y="248"/>
                    <a:pt x="45" y="248"/>
                  </a:cubicBezTo>
                  <a:cubicBezTo>
                    <a:pt x="85" y="174"/>
                    <a:pt x="109" y="90"/>
                    <a:pt x="111" y="0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57" name="Freeform 10"/>
            <p:cNvSpPr>
              <a:spLocks/>
            </p:cNvSpPr>
            <p:nvPr/>
          </p:nvSpPr>
          <p:spPr bwMode="auto">
            <a:xfrm>
              <a:off x="10612979" y="3632930"/>
              <a:ext cx="356034" cy="356034"/>
            </a:xfrm>
            <a:custGeom>
              <a:avLst/>
              <a:gdLst>
                <a:gd name="T0" fmla="*/ 207 w 207"/>
                <a:gd name="T1" fmla="*/ 26 h 207"/>
                <a:gd name="T2" fmla="*/ 163 w 207"/>
                <a:gd name="T3" fmla="*/ 0 h 207"/>
                <a:gd name="T4" fmla="*/ 0 w 207"/>
                <a:gd name="T5" fmla="*/ 163 h 207"/>
                <a:gd name="T6" fmla="*/ 26 w 207"/>
                <a:gd name="T7" fmla="*/ 207 h 207"/>
                <a:gd name="T8" fmla="*/ 207 w 207"/>
                <a:gd name="T9" fmla="*/ 26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7" h="207">
                  <a:moveTo>
                    <a:pt x="207" y="26"/>
                  </a:moveTo>
                  <a:cubicBezTo>
                    <a:pt x="163" y="0"/>
                    <a:pt x="163" y="0"/>
                    <a:pt x="163" y="0"/>
                  </a:cubicBezTo>
                  <a:cubicBezTo>
                    <a:pt x="122" y="66"/>
                    <a:pt x="66" y="122"/>
                    <a:pt x="0" y="163"/>
                  </a:cubicBezTo>
                  <a:cubicBezTo>
                    <a:pt x="26" y="207"/>
                    <a:pt x="26" y="207"/>
                    <a:pt x="26" y="207"/>
                  </a:cubicBezTo>
                  <a:cubicBezTo>
                    <a:pt x="100" y="162"/>
                    <a:pt x="162" y="100"/>
                    <a:pt x="207" y="26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58" name="Freeform 11"/>
            <p:cNvSpPr>
              <a:spLocks/>
            </p:cNvSpPr>
            <p:nvPr/>
          </p:nvSpPr>
          <p:spPr bwMode="auto">
            <a:xfrm>
              <a:off x="10193211" y="3936217"/>
              <a:ext cx="427460" cy="189006"/>
            </a:xfrm>
            <a:custGeom>
              <a:avLst/>
              <a:gdLst>
                <a:gd name="T0" fmla="*/ 248 w 248"/>
                <a:gd name="T1" fmla="*/ 44 h 110"/>
                <a:gd name="T2" fmla="*/ 222 w 248"/>
                <a:gd name="T3" fmla="*/ 0 h 110"/>
                <a:gd name="T4" fmla="*/ 0 w 248"/>
                <a:gd name="T5" fmla="*/ 59 h 110"/>
                <a:gd name="T6" fmla="*/ 0 w 248"/>
                <a:gd name="T7" fmla="*/ 110 h 110"/>
                <a:gd name="T8" fmla="*/ 248 w 248"/>
                <a:gd name="T9" fmla="*/ 4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110">
                  <a:moveTo>
                    <a:pt x="248" y="44"/>
                  </a:moveTo>
                  <a:cubicBezTo>
                    <a:pt x="222" y="0"/>
                    <a:pt x="222" y="0"/>
                    <a:pt x="222" y="0"/>
                  </a:cubicBezTo>
                  <a:cubicBezTo>
                    <a:pt x="156" y="36"/>
                    <a:pt x="80" y="57"/>
                    <a:pt x="0" y="59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90" y="108"/>
                    <a:pt x="174" y="84"/>
                    <a:pt x="248" y="44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59" name="Freeform 12"/>
            <p:cNvSpPr>
              <a:spLocks/>
            </p:cNvSpPr>
            <p:nvPr/>
          </p:nvSpPr>
          <p:spPr bwMode="auto">
            <a:xfrm>
              <a:off x="9723995" y="3936217"/>
              <a:ext cx="425262" cy="189006"/>
            </a:xfrm>
            <a:custGeom>
              <a:avLst/>
              <a:gdLst>
                <a:gd name="T0" fmla="*/ 0 w 247"/>
                <a:gd name="T1" fmla="*/ 44 h 110"/>
                <a:gd name="T2" fmla="*/ 247 w 247"/>
                <a:gd name="T3" fmla="*/ 110 h 110"/>
                <a:gd name="T4" fmla="*/ 247 w 247"/>
                <a:gd name="T5" fmla="*/ 59 h 110"/>
                <a:gd name="T6" fmla="*/ 26 w 247"/>
                <a:gd name="T7" fmla="*/ 0 h 110"/>
                <a:gd name="T8" fmla="*/ 0 w 247"/>
                <a:gd name="T9" fmla="*/ 44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110">
                  <a:moveTo>
                    <a:pt x="0" y="44"/>
                  </a:moveTo>
                  <a:cubicBezTo>
                    <a:pt x="74" y="84"/>
                    <a:pt x="158" y="108"/>
                    <a:pt x="247" y="110"/>
                  </a:cubicBezTo>
                  <a:cubicBezTo>
                    <a:pt x="247" y="59"/>
                    <a:pt x="247" y="59"/>
                    <a:pt x="247" y="59"/>
                  </a:cubicBezTo>
                  <a:cubicBezTo>
                    <a:pt x="167" y="57"/>
                    <a:pt x="92" y="36"/>
                    <a:pt x="26" y="0"/>
                  </a:cubicBezTo>
                  <a:lnTo>
                    <a:pt x="0" y="4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60" name="Freeform 13"/>
            <p:cNvSpPr>
              <a:spLocks/>
            </p:cNvSpPr>
            <p:nvPr/>
          </p:nvSpPr>
          <p:spPr bwMode="auto">
            <a:xfrm>
              <a:off x="9374554" y="3632930"/>
              <a:ext cx="354935" cy="356034"/>
            </a:xfrm>
            <a:custGeom>
              <a:avLst/>
              <a:gdLst>
                <a:gd name="T0" fmla="*/ 44 w 206"/>
                <a:gd name="T1" fmla="*/ 0 h 207"/>
                <a:gd name="T2" fmla="*/ 0 w 206"/>
                <a:gd name="T3" fmla="*/ 26 h 207"/>
                <a:gd name="T4" fmla="*/ 181 w 206"/>
                <a:gd name="T5" fmla="*/ 207 h 207"/>
                <a:gd name="T6" fmla="*/ 206 w 206"/>
                <a:gd name="T7" fmla="*/ 163 h 207"/>
                <a:gd name="T8" fmla="*/ 44 w 206"/>
                <a:gd name="T9" fmla="*/ 0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" h="207">
                  <a:moveTo>
                    <a:pt x="44" y="0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45" y="100"/>
                    <a:pt x="107" y="162"/>
                    <a:pt x="181" y="207"/>
                  </a:cubicBezTo>
                  <a:cubicBezTo>
                    <a:pt x="206" y="163"/>
                    <a:pt x="206" y="163"/>
                    <a:pt x="206" y="163"/>
                  </a:cubicBezTo>
                  <a:cubicBezTo>
                    <a:pt x="140" y="122"/>
                    <a:pt x="85" y="66"/>
                    <a:pt x="44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61" name="Freeform 14"/>
            <p:cNvSpPr>
              <a:spLocks/>
            </p:cNvSpPr>
            <p:nvPr/>
          </p:nvSpPr>
          <p:spPr bwMode="auto">
            <a:xfrm>
              <a:off x="9237196" y="3213162"/>
              <a:ext cx="191203" cy="427460"/>
            </a:xfrm>
            <a:custGeom>
              <a:avLst/>
              <a:gdLst>
                <a:gd name="T0" fmla="*/ 0 w 111"/>
                <a:gd name="T1" fmla="*/ 0 h 248"/>
                <a:gd name="T2" fmla="*/ 67 w 111"/>
                <a:gd name="T3" fmla="*/ 248 h 248"/>
                <a:gd name="T4" fmla="*/ 111 w 111"/>
                <a:gd name="T5" fmla="*/ 222 h 248"/>
                <a:gd name="T6" fmla="*/ 51 w 111"/>
                <a:gd name="T7" fmla="*/ 0 h 248"/>
                <a:gd name="T8" fmla="*/ 0 w 111"/>
                <a:gd name="T9" fmla="*/ 0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248">
                  <a:moveTo>
                    <a:pt x="0" y="0"/>
                  </a:moveTo>
                  <a:cubicBezTo>
                    <a:pt x="2" y="90"/>
                    <a:pt x="26" y="174"/>
                    <a:pt x="67" y="248"/>
                  </a:cubicBezTo>
                  <a:cubicBezTo>
                    <a:pt x="111" y="222"/>
                    <a:pt x="111" y="222"/>
                    <a:pt x="111" y="222"/>
                  </a:cubicBezTo>
                  <a:cubicBezTo>
                    <a:pt x="75" y="156"/>
                    <a:pt x="53" y="80"/>
                    <a:pt x="5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62" name="Freeform 15"/>
            <p:cNvSpPr>
              <a:spLocks/>
            </p:cNvSpPr>
            <p:nvPr/>
          </p:nvSpPr>
          <p:spPr bwMode="auto">
            <a:xfrm>
              <a:off x="9237196" y="2743946"/>
              <a:ext cx="191203" cy="425262"/>
            </a:xfrm>
            <a:custGeom>
              <a:avLst/>
              <a:gdLst>
                <a:gd name="T0" fmla="*/ 51 w 111"/>
                <a:gd name="T1" fmla="*/ 247 h 247"/>
                <a:gd name="T2" fmla="*/ 111 w 111"/>
                <a:gd name="T3" fmla="*/ 26 h 247"/>
                <a:gd name="T4" fmla="*/ 67 w 111"/>
                <a:gd name="T5" fmla="*/ 0 h 247"/>
                <a:gd name="T6" fmla="*/ 0 w 111"/>
                <a:gd name="T7" fmla="*/ 247 h 247"/>
                <a:gd name="T8" fmla="*/ 51 w 111"/>
                <a:gd name="T9" fmla="*/ 247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247">
                  <a:moveTo>
                    <a:pt x="51" y="247"/>
                  </a:moveTo>
                  <a:cubicBezTo>
                    <a:pt x="53" y="167"/>
                    <a:pt x="75" y="92"/>
                    <a:pt x="111" y="26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26" y="74"/>
                    <a:pt x="2" y="158"/>
                    <a:pt x="0" y="247"/>
                  </a:cubicBezTo>
                  <a:lnTo>
                    <a:pt x="51" y="247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63" name="Freeform 16"/>
            <p:cNvSpPr>
              <a:spLocks/>
            </p:cNvSpPr>
            <p:nvPr/>
          </p:nvSpPr>
          <p:spPr bwMode="auto">
            <a:xfrm>
              <a:off x="9374554" y="2394505"/>
              <a:ext cx="354935" cy="354935"/>
            </a:xfrm>
            <a:custGeom>
              <a:avLst/>
              <a:gdLst>
                <a:gd name="T0" fmla="*/ 0 w 206"/>
                <a:gd name="T1" fmla="*/ 181 h 206"/>
                <a:gd name="T2" fmla="*/ 44 w 206"/>
                <a:gd name="T3" fmla="*/ 206 h 206"/>
                <a:gd name="T4" fmla="*/ 206 w 206"/>
                <a:gd name="T5" fmla="*/ 44 h 206"/>
                <a:gd name="T6" fmla="*/ 181 w 206"/>
                <a:gd name="T7" fmla="*/ 0 h 206"/>
                <a:gd name="T8" fmla="*/ 0 w 206"/>
                <a:gd name="T9" fmla="*/ 181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6" h="206">
                  <a:moveTo>
                    <a:pt x="0" y="181"/>
                  </a:moveTo>
                  <a:cubicBezTo>
                    <a:pt x="44" y="206"/>
                    <a:pt x="44" y="206"/>
                    <a:pt x="44" y="206"/>
                  </a:cubicBezTo>
                  <a:cubicBezTo>
                    <a:pt x="85" y="140"/>
                    <a:pt x="140" y="85"/>
                    <a:pt x="206" y="44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07" y="45"/>
                    <a:pt x="45" y="107"/>
                    <a:pt x="0" y="181"/>
                  </a:cubicBez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  <p:sp>
          <p:nvSpPr>
            <p:cNvPr id="64" name="Freeform 17"/>
            <p:cNvSpPr>
              <a:spLocks/>
            </p:cNvSpPr>
            <p:nvPr/>
          </p:nvSpPr>
          <p:spPr bwMode="auto">
            <a:xfrm>
              <a:off x="9723995" y="2257147"/>
              <a:ext cx="425262" cy="191203"/>
            </a:xfrm>
            <a:custGeom>
              <a:avLst/>
              <a:gdLst>
                <a:gd name="T0" fmla="*/ 0 w 247"/>
                <a:gd name="T1" fmla="*/ 67 h 111"/>
                <a:gd name="T2" fmla="*/ 25 w 247"/>
                <a:gd name="T3" fmla="*/ 111 h 111"/>
                <a:gd name="T4" fmla="*/ 247 w 247"/>
                <a:gd name="T5" fmla="*/ 51 h 111"/>
                <a:gd name="T6" fmla="*/ 247 w 247"/>
                <a:gd name="T7" fmla="*/ 0 h 111"/>
                <a:gd name="T8" fmla="*/ 0 w 247"/>
                <a:gd name="T9" fmla="*/ 67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111">
                  <a:moveTo>
                    <a:pt x="0" y="67"/>
                  </a:moveTo>
                  <a:cubicBezTo>
                    <a:pt x="25" y="111"/>
                    <a:pt x="25" y="111"/>
                    <a:pt x="25" y="111"/>
                  </a:cubicBezTo>
                  <a:cubicBezTo>
                    <a:pt x="92" y="75"/>
                    <a:pt x="167" y="53"/>
                    <a:pt x="247" y="51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158" y="2"/>
                    <a:pt x="74" y="26"/>
                    <a:pt x="0" y="67"/>
                  </a:cubicBez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微软雅黑" panose="020B0503020204020204" pitchFamily="34" charset="-122"/>
              </a:endParaRPr>
            </a:p>
          </p:txBody>
        </p:sp>
      </p:grpSp>
      <p:sp>
        <p:nvSpPr>
          <p:cNvPr id="65" name="文本框 93"/>
          <p:cNvSpPr txBox="1"/>
          <p:nvPr/>
        </p:nvSpPr>
        <p:spPr>
          <a:xfrm>
            <a:off x="6877140" y="3348320"/>
            <a:ext cx="15396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000" kern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</a:t>
            </a:r>
            <a:r>
              <a:rPr lang="en-US" sz="2000" kern="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twork.kz</a:t>
            </a:r>
            <a:endParaRPr lang="ru-RU" sz="2000" kern="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6" name="文本框 93"/>
          <p:cNvSpPr txBox="1"/>
          <p:nvPr/>
        </p:nvSpPr>
        <p:spPr>
          <a:xfrm>
            <a:off x="9820540" y="3383818"/>
            <a:ext cx="1693623" cy="363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kern="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estr.nadloc.kz</a:t>
            </a:r>
            <a:endParaRPr lang="zh-CN" altLang="en-US" sz="1600" dirty="0">
              <a:solidFill>
                <a:schemeClr val="bg1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7" name="文本框 93"/>
          <p:cNvSpPr txBox="1"/>
          <p:nvPr/>
        </p:nvSpPr>
        <p:spPr>
          <a:xfrm>
            <a:off x="3744539" y="3383818"/>
            <a:ext cx="171602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kern="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oszakup.gov.kz</a:t>
            </a:r>
            <a:endParaRPr lang="ru-RU" sz="1600" kern="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8" name="文本框 93"/>
          <p:cNvSpPr txBox="1"/>
          <p:nvPr/>
        </p:nvSpPr>
        <p:spPr>
          <a:xfrm>
            <a:off x="615568" y="3329829"/>
            <a:ext cx="17579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zakup.sk.kz</a:t>
            </a:r>
            <a:r>
              <a:rPr lang="ru-RU" sz="20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20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20204" y="1357282"/>
            <a:ext cx="30558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7F7F7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САМ</a:t>
            </a:r>
            <a:r>
              <a:rPr lang="kk-KZ" b="1" dirty="0" smtClean="0">
                <a:solidFill>
                  <a:srgbClr val="7F7F7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ҰРЫҚ-ҚАЗЫНА</a:t>
            </a:r>
            <a:r>
              <a:rPr lang="ru-RU" b="1" dirty="0" smtClean="0">
                <a:solidFill>
                  <a:srgbClr val="7F7F7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</a:t>
            </a:r>
          </a:p>
          <a:p>
            <a:pPr algn="ctr"/>
            <a:r>
              <a:rPr lang="ru-RU" b="1" dirty="0" smtClean="0">
                <a:solidFill>
                  <a:srgbClr val="7F7F7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ТЫП </a:t>
            </a:r>
            <a:r>
              <a:rPr lang="ru-RU" b="1" dirty="0">
                <a:solidFill>
                  <a:srgbClr val="7F7F7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УЛАРЫ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3087829" y="1361332"/>
            <a:ext cx="301238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b="1" dirty="0" smtClean="0">
                <a:solidFill>
                  <a:srgbClr val="173F5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МЛЕКЕТТІК </a:t>
            </a:r>
          </a:p>
          <a:p>
            <a:pPr algn="ctr"/>
            <a:r>
              <a:rPr lang="kk-KZ" b="1" dirty="0" smtClean="0">
                <a:solidFill>
                  <a:srgbClr val="173F5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ТЫП АЛУЛАР</a:t>
            </a:r>
            <a:endParaRPr lang="ru-RU" b="1" dirty="0">
              <a:solidFill>
                <a:srgbClr val="173F5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6111950" y="1213141"/>
            <a:ext cx="300226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b="1" dirty="0">
                <a:solidFill>
                  <a:srgbClr val="E9424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ВАЗИМЕМЛЕКЕТТІК СЕКТОРДЫҢ САТЫП АЛУЛАРЫ</a:t>
            </a:r>
            <a:endParaRPr lang="ru-RU" b="1" dirty="0">
              <a:solidFill>
                <a:srgbClr val="E9424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9124330" y="1145063"/>
            <a:ext cx="3067669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b="1" dirty="0">
                <a:solidFill>
                  <a:srgbClr val="FFDA0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Р ҚОЙНАУЫН ПАЙДАЛАНУШЫЛАРДЫҢ САТЫП </a:t>
            </a:r>
            <a:r>
              <a:rPr lang="kk-KZ" b="1" dirty="0" smtClean="0">
                <a:solidFill>
                  <a:srgbClr val="FFDA0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УЛАРЫ</a:t>
            </a:r>
          </a:p>
          <a:p>
            <a:pPr algn="ctr"/>
            <a:r>
              <a:rPr lang="ru-RU" sz="1400" b="1" dirty="0" smtClean="0">
                <a:solidFill>
                  <a:srgbClr val="7F7F7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2022ж. </a:t>
            </a:r>
            <a:r>
              <a:rPr lang="ru-RU" sz="1400" b="1" dirty="0" err="1" smtClean="0">
                <a:solidFill>
                  <a:srgbClr val="7F7F7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әуірінен</a:t>
            </a:r>
            <a:r>
              <a:rPr lang="ru-RU" sz="1400" b="1" dirty="0" smtClean="0">
                <a:solidFill>
                  <a:srgbClr val="7F7F7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err="1" smtClean="0">
                <a:solidFill>
                  <a:srgbClr val="7F7F7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стап</a:t>
            </a:r>
            <a:r>
              <a:rPr lang="ru-RU" sz="1400" b="1" dirty="0" smtClean="0">
                <a:solidFill>
                  <a:srgbClr val="7F7F7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ru-RU" sz="1400" b="1" dirty="0">
              <a:solidFill>
                <a:srgbClr val="7F7F7F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33" name="Группа 32"/>
          <p:cNvGrpSpPr/>
          <p:nvPr/>
        </p:nvGrpSpPr>
        <p:grpSpPr>
          <a:xfrm>
            <a:off x="125682" y="4921671"/>
            <a:ext cx="2853221" cy="1369463"/>
            <a:chOff x="34802" y="4921671"/>
            <a:chExt cx="2853221" cy="1369463"/>
          </a:xfrm>
        </p:grpSpPr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xmlns="" id="{A9E70902-58D4-4703-8BE5-34A9312764BE}"/>
                </a:ext>
              </a:extLst>
            </p:cNvPr>
            <p:cNvSpPr txBox="1"/>
            <p:nvPr/>
          </p:nvSpPr>
          <p:spPr>
            <a:xfrm>
              <a:off x="34802" y="4938920"/>
              <a:ext cx="126584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b="1" dirty="0" smtClean="0">
                  <a:solidFill>
                    <a:srgbClr val="7F7F7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1</a:t>
              </a:r>
              <a:r>
                <a:rPr lang="kk-KZ" sz="3200" b="1" dirty="0" smtClean="0">
                  <a:solidFill>
                    <a:srgbClr val="7F7F7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70</a:t>
              </a:r>
              <a:endParaRPr lang="en-US" sz="3200" b="1" dirty="0">
                <a:solidFill>
                  <a:srgbClr val="7F7F7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xmlns="" id="{259CB5C8-30B9-4D81-9718-AFA0289540A1}"/>
                </a:ext>
              </a:extLst>
            </p:cNvPr>
            <p:cNvSpPr txBox="1"/>
            <p:nvPr/>
          </p:nvSpPr>
          <p:spPr>
            <a:xfrm>
              <a:off x="947971" y="4921671"/>
              <a:ext cx="1940052" cy="6192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ru-RU" sz="1600" b="1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астам</a:t>
              </a:r>
              <a:r>
                <a:rPr lang="ru-RU" sz="16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Тапсырыс </a:t>
              </a:r>
              <a:r>
                <a:rPr lang="ru-RU" sz="1600" b="1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берушілер</a:t>
              </a:r>
              <a:endPara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xmlns="" id="{A9E70902-58D4-4703-8BE5-34A9312764BE}"/>
                </a:ext>
              </a:extLst>
            </p:cNvPr>
            <p:cNvSpPr txBox="1"/>
            <p:nvPr/>
          </p:nvSpPr>
          <p:spPr>
            <a:xfrm>
              <a:off x="34802" y="5689111"/>
              <a:ext cx="126584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b="1" dirty="0" smtClean="0">
                  <a:solidFill>
                    <a:srgbClr val="7F7F7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1</a:t>
              </a:r>
              <a:r>
                <a:rPr lang="kk-KZ" sz="3200" b="1" dirty="0" smtClean="0">
                  <a:solidFill>
                    <a:srgbClr val="7F7F7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5</a:t>
              </a:r>
              <a:endParaRPr lang="en-US" sz="3200" b="1" dirty="0">
                <a:solidFill>
                  <a:srgbClr val="7F7F7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xmlns="" id="{259CB5C8-30B9-4D81-9718-AFA0289540A1}"/>
                </a:ext>
              </a:extLst>
            </p:cNvPr>
            <p:cNvSpPr txBox="1"/>
            <p:nvPr/>
          </p:nvSpPr>
          <p:spPr>
            <a:xfrm>
              <a:off x="1143614" y="5671862"/>
              <a:ext cx="1690230" cy="6192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ru-RU" sz="1600" b="1" dirty="0" err="1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астам</a:t>
              </a:r>
              <a:r>
                <a:rPr lang="ru-RU" sz="16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600" b="1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Жеткізушілер</a:t>
              </a:r>
              <a:endPara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" name="Прямоугольник 1"/>
            <p:cNvSpPr/>
            <p:nvPr/>
          </p:nvSpPr>
          <p:spPr>
            <a:xfrm>
              <a:off x="593387" y="5920191"/>
              <a:ext cx="591829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b="1" dirty="0" smtClean="0">
                  <a:solidFill>
                    <a:srgbClr val="7F7F7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ың</a:t>
              </a:r>
              <a:endParaRPr lang="ru-RU" sz="1400" b="1" dirty="0">
                <a:solidFill>
                  <a:srgbClr val="7F7F7F"/>
                </a:solidFill>
              </a:endParaRPr>
            </a:p>
          </p:txBody>
        </p:sp>
      </p:grpSp>
      <p:grpSp>
        <p:nvGrpSpPr>
          <p:cNvPr id="128" name="Группа 127"/>
          <p:cNvGrpSpPr/>
          <p:nvPr/>
        </p:nvGrpSpPr>
        <p:grpSpPr>
          <a:xfrm>
            <a:off x="3190790" y="4745890"/>
            <a:ext cx="2799042" cy="1545244"/>
            <a:chOff x="3081959" y="4745890"/>
            <a:chExt cx="2799042" cy="1545244"/>
          </a:xfrm>
        </p:grpSpPr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xmlns="" id="{259CB5C8-30B9-4D81-9718-AFA0289540A1}"/>
                </a:ext>
              </a:extLst>
            </p:cNvPr>
            <p:cNvSpPr txBox="1"/>
            <p:nvPr/>
          </p:nvSpPr>
          <p:spPr>
            <a:xfrm>
              <a:off x="4190770" y="4745890"/>
              <a:ext cx="1336411" cy="8827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ru-RU" sz="1600" b="1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астам</a:t>
              </a:r>
              <a:r>
                <a:rPr lang="ru-RU" sz="16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Тапсырыс </a:t>
              </a:r>
              <a:r>
                <a:rPr lang="ru-RU" sz="1600" b="1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берушілер</a:t>
              </a:r>
              <a:endPara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xmlns="" id="{A9E70902-58D4-4703-8BE5-34A9312764BE}"/>
                </a:ext>
              </a:extLst>
            </p:cNvPr>
            <p:cNvSpPr txBox="1"/>
            <p:nvPr/>
          </p:nvSpPr>
          <p:spPr>
            <a:xfrm>
              <a:off x="3081959" y="5689111"/>
              <a:ext cx="126584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k-KZ" sz="3200" b="1" dirty="0" smtClean="0">
                  <a:solidFill>
                    <a:srgbClr val="173F5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80</a:t>
              </a:r>
              <a:endParaRPr lang="en-US" sz="3200" b="1" dirty="0">
                <a:solidFill>
                  <a:srgbClr val="173F5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xmlns="" id="{259CB5C8-30B9-4D81-9718-AFA0289540A1}"/>
                </a:ext>
              </a:extLst>
            </p:cNvPr>
            <p:cNvSpPr txBox="1"/>
            <p:nvPr/>
          </p:nvSpPr>
          <p:spPr>
            <a:xfrm>
              <a:off x="4190771" y="5671862"/>
              <a:ext cx="1690230" cy="6192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ru-RU" sz="1600" b="1" dirty="0" err="1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астам</a:t>
              </a:r>
              <a:r>
                <a:rPr lang="ru-RU" sz="16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600" b="1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Жеткізушілер</a:t>
              </a:r>
              <a:endPara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xmlns="" id="{A9E70902-58D4-4703-8BE5-34A9312764BE}"/>
                </a:ext>
              </a:extLst>
            </p:cNvPr>
            <p:cNvSpPr txBox="1"/>
            <p:nvPr/>
          </p:nvSpPr>
          <p:spPr>
            <a:xfrm>
              <a:off x="3081959" y="4938744"/>
              <a:ext cx="126584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k-KZ" sz="3200" b="1" dirty="0" smtClean="0">
                  <a:solidFill>
                    <a:srgbClr val="173F5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20</a:t>
              </a:r>
              <a:endParaRPr lang="en-US" sz="3200" b="1" dirty="0">
                <a:solidFill>
                  <a:srgbClr val="173F5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21" name="Прямоугольник 120"/>
            <p:cNvSpPr/>
            <p:nvPr/>
          </p:nvSpPr>
          <p:spPr>
            <a:xfrm>
              <a:off x="3640544" y="5157458"/>
              <a:ext cx="591829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b="1" dirty="0">
                  <a:solidFill>
                    <a:srgbClr val="173F5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ың</a:t>
              </a:r>
              <a:endParaRPr lang="ru-RU" sz="1400" b="1" dirty="0">
                <a:solidFill>
                  <a:srgbClr val="173F59"/>
                </a:solidFill>
              </a:endParaRPr>
            </a:p>
          </p:txBody>
        </p:sp>
        <p:sp>
          <p:nvSpPr>
            <p:cNvPr id="122" name="Прямоугольник 121"/>
            <p:cNvSpPr/>
            <p:nvPr/>
          </p:nvSpPr>
          <p:spPr>
            <a:xfrm>
              <a:off x="3640544" y="5921257"/>
              <a:ext cx="591829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b="1" dirty="0">
                  <a:solidFill>
                    <a:srgbClr val="173F59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ың</a:t>
              </a:r>
              <a:endParaRPr lang="ru-RU" sz="1400" b="1" dirty="0">
                <a:solidFill>
                  <a:srgbClr val="173F59"/>
                </a:solidFill>
              </a:endParaRPr>
            </a:p>
          </p:txBody>
        </p:sp>
      </p:grpSp>
      <p:grpSp>
        <p:nvGrpSpPr>
          <p:cNvPr id="129" name="Группа 128"/>
          <p:cNvGrpSpPr/>
          <p:nvPr/>
        </p:nvGrpSpPr>
        <p:grpSpPr>
          <a:xfrm>
            <a:off x="6296989" y="4921671"/>
            <a:ext cx="2632181" cy="1369463"/>
            <a:chOff x="6027951" y="4921671"/>
            <a:chExt cx="2632181" cy="1369463"/>
          </a:xfrm>
        </p:grpSpPr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xmlns="" id="{A9E70902-58D4-4703-8BE5-34A9312764BE}"/>
                </a:ext>
              </a:extLst>
            </p:cNvPr>
            <p:cNvSpPr txBox="1"/>
            <p:nvPr/>
          </p:nvSpPr>
          <p:spPr>
            <a:xfrm>
              <a:off x="6027951" y="4938920"/>
              <a:ext cx="82456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k-KZ" sz="3200" b="1" dirty="0" smtClean="0">
                  <a:solidFill>
                    <a:srgbClr val="E94244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40</a:t>
              </a:r>
              <a:endParaRPr lang="en-US" sz="3200" b="1" dirty="0">
                <a:solidFill>
                  <a:srgbClr val="E9424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xmlns="" id="{259CB5C8-30B9-4D81-9718-AFA0289540A1}"/>
                </a:ext>
              </a:extLst>
            </p:cNvPr>
            <p:cNvSpPr txBox="1"/>
            <p:nvPr/>
          </p:nvSpPr>
          <p:spPr>
            <a:xfrm>
              <a:off x="6695560" y="4921671"/>
              <a:ext cx="1964572" cy="6192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ru-RU" sz="1600" b="1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астам</a:t>
              </a:r>
              <a:r>
                <a:rPr lang="ru-RU" sz="16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Тапсырыс </a:t>
              </a:r>
              <a:r>
                <a:rPr lang="ru-RU" sz="1600" b="1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берушілер</a:t>
              </a:r>
              <a:endPara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xmlns="" id="{A9E70902-58D4-4703-8BE5-34A9312764BE}"/>
                </a:ext>
              </a:extLst>
            </p:cNvPr>
            <p:cNvSpPr txBox="1"/>
            <p:nvPr/>
          </p:nvSpPr>
          <p:spPr>
            <a:xfrm>
              <a:off x="6027951" y="5689111"/>
              <a:ext cx="126584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k-KZ" sz="3200" b="1" dirty="0" smtClean="0">
                  <a:solidFill>
                    <a:srgbClr val="E94244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2</a:t>
              </a:r>
              <a:endParaRPr lang="en-US" sz="3200" b="1" dirty="0">
                <a:solidFill>
                  <a:srgbClr val="E9424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xmlns="" id="{259CB5C8-30B9-4D81-9718-AFA0289540A1}"/>
                </a:ext>
              </a:extLst>
            </p:cNvPr>
            <p:cNvSpPr txBox="1"/>
            <p:nvPr/>
          </p:nvSpPr>
          <p:spPr>
            <a:xfrm>
              <a:off x="6956785" y="5671862"/>
              <a:ext cx="1703347" cy="6192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ru-RU" sz="1600" b="1" dirty="0" err="1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астам</a:t>
              </a:r>
              <a:r>
                <a:rPr lang="ru-RU" sz="16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600" b="1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Жеткізушілер</a:t>
              </a:r>
              <a:endPara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23" name="Прямоугольник 122"/>
            <p:cNvSpPr/>
            <p:nvPr/>
          </p:nvSpPr>
          <p:spPr>
            <a:xfrm>
              <a:off x="6364956" y="5921257"/>
              <a:ext cx="591829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b="1" dirty="0">
                  <a:solidFill>
                    <a:srgbClr val="E94244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ың</a:t>
              </a:r>
              <a:endParaRPr lang="ru-RU" sz="1400" b="1" dirty="0">
                <a:solidFill>
                  <a:srgbClr val="E94244"/>
                </a:solidFill>
              </a:endParaRPr>
            </a:p>
          </p:txBody>
        </p:sp>
      </p:grpSp>
      <p:grpSp>
        <p:nvGrpSpPr>
          <p:cNvPr id="130" name="Группа 129"/>
          <p:cNvGrpSpPr/>
          <p:nvPr/>
        </p:nvGrpSpPr>
        <p:grpSpPr>
          <a:xfrm>
            <a:off x="9232428" y="4921671"/>
            <a:ext cx="2857385" cy="1369463"/>
            <a:chOff x="9276622" y="4921671"/>
            <a:chExt cx="2857385" cy="1369463"/>
          </a:xfrm>
        </p:grpSpPr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xmlns="" id="{A9E70902-58D4-4703-8BE5-34A9312764BE}"/>
                </a:ext>
              </a:extLst>
            </p:cNvPr>
            <p:cNvSpPr txBox="1"/>
            <p:nvPr/>
          </p:nvSpPr>
          <p:spPr>
            <a:xfrm>
              <a:off x="9276622" y="4938920"/>
              <a:ext cx="126584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k-KZ" sz="3200" b="1" dirty="0">
                  <a:solidFill>
                    <a:srgbClr val="FFDA07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4</a:t>
              </a:r>
              <a:endParaRPr lang="en-US" sz="3200" b="1" dirty="0">
                <a:solidFill>
                  <a:srgbClr val="FFDA0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xmlns="" id="{259CB5C8-30B9-4D81-9718-AFA0289540A1}"/>
                </a:ext>
              </a:extLst>
            </p:cNvPr>
            <p:cNvSpPr txBox="1"/>
            <p:nvPr/>
          </p:nvSpPr>
          <p:spPr>
            <a:xfrm>
              <a:off x="10189791" y="4921671"/>
              <a:ext cx="1944216" cy="6192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ru-RU" sz="1600" b="1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астам</a:t>
              </a:r>
              <a:r>
                <a:rPr lang="ru-RU" sz="16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Тапсырыс </a:t>
              </a:r>
              <a:r>
                <a:rPr lang="ru-RU" sz="1600" b="1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берушілер</a:t>
              </a:r>
              <a:endPara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xmlns="" id="{A9E70902-58D4-4703-8BE5-34A9312764BE}"/>
                </a:ext>
              </a:extLst>
            </p:cNvPr>
            <p:cNvSpPr txBox="1"/>
            <p:nvPr/>
          </p:nvSpPr>
          <p:spPr>
            <a:xfrm>
              <a:off x="9276622" y="5689111"/>
              <a:ext cx="126584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200" b="1" dirty="0" smtClean="0">
                  <a:solidFill>
                    <a:srgbClr val="FFDA07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1</a:t>
              </a:r>
              <a:r>
                <a:rPr lang="kk-KZ" sz="3200" b="1" dirty="0">
                  <a:solidFill>
                    <a:srgbClr val="FFDA07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0</a:t>
              </a:r>
              <a:endParaRPr lang="en-US" sz="3200" b="1" dirty="0">
                <a:solidFill>
                  <a:srgbClr val="FFDA07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xmlns="" id="{259CB5C8-30B9-4D81-9718-AFA0289540A1}"/>
                </a:ext>
              </a:extLst>
            </p:cNvPr>
            <p:cNvSpPr txBox="1"/>
            <p:nvPr/>
          </p:nvSpPr>
          <p:spPr>
            <a:xfrm>
              <a:off x="10385434" y="5671862"/>
              <a:ext cx="1687230" cy="6192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07000"/>
                </a:lnSpc>
              </a:pPr>
              <a:r>
                <a:rPr lang="ru-RU" sz="1600" b="1" dirty="0" err="1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астам</a:t>
              </a:r>
              <a:r>
                <a:rPr lang="ru-RU" sz="16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1600" b="1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Жеткізушілер</a:t>
              </a:r>
              <a:endPara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24" name="Прямоугольник 123"/>
            <p:cNvSpPr/>
            <p:nvPr/>
          </p:nvSpPr>
          <p:spPr>
            <a:xfrm>
              <a:off x="9597962" y="5157458"/>
              <a:ext cx="591829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b="1" dirty="0">
                  <a:solidFill>
                    <a:srgbClr val="FFDA07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ың</a:t>
              </a:r>
              <a:endParaRPr lang="ru-RU" sz="1400" b="1" dirty="0">
                <a:solidFill>
                  <a:srgbClr val="FFDA07"/>
                </a:solidFill>
              </a:endParaRPr>
            </a:p>
          </p:txBody>
        </p:sp>
        <p:sp>
          <p:nvSpPr>
            <p:cNvPr id="125" name="Прямоугольник 124"/>
            <p:cNvSpPr/>
            <p:nvPr/>
          </p:nvSpPr>
          <p:spPr>
            <a:xfrm>
              <a:off x="9854985" y="5921257"/>
              <a:ext cx="591829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400" b="1" dirty="0">
                  <a:solidFill>
                    <a:srgbClr val="FFDA07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ың</a:t>
              </a:r>
              <a:endParaRPr lang="ru-RU" sz="1400" b="1" dirty="0">
                <a:solidFill>
                  <a:srgbClr val="FFDA07"/>
                </a:solidFill>
              </a:endParaRPr>
            </a:p>
          </p:txBody>
        </p:sp>
      </p:grpSp>
      <p:cxnSp>
        <p:nvCxnSpPr>
          <p:cNvPr id="5" name="Прямая соединительная линия 4"/>
          <p:cNvCxnSpPr/>
          <p:nvPr/>
        </p:nvCxnSpPr>
        <p:spPr>
          <a:xfrm>
            <a:off x="3081959" y="754259"/>
            <a:ext cx="0" cy="6103741"/>
          </a:xfrm>
          <a:prstGeom prst="line">
            <a:avLst/>
          </a:prstGeom>
          <a:ln w="12700">
            <a:solidFill>
              <a:srgbClr val="17335D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Прямая соединительная линия 125"/>
          <p:cNvCxnSpPr/>
          <p:nvPr/>
        </p:nvCxnSpPr>
        <p:spPr>
          <a:xfrm>
            <a:off x="6106080" y="754259"/>
            <a:ext cx="0" cy="6103741"/>
          </a:xfrm>
          <a:prstGeom prst="line">
            <a:avLst/>
          </a:prstGeom>
          <a:ln w="12700">
            <a:solidFill>
              <a:srgbClr val="17335D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Прямая соединительная линия 126"/>
          <p:cNvCxnSpPr/>
          <p:nvPr/>
        </p:nvCxnSpPr>
        <p:spPr>
          <a:xfrm>
            <a:off x="9130242" y="754259"/>
            <a:ext cx="0" cy="6103741"/>
          </a:xfrm>
          <a:prstGeom prst="line">
            <a:avLst/>
          </a:prstGeom>
          <a:ln w="12700">
            <a:solidFill>
              <a:srgbClr val="17335D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8647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033885" y="346455"/>
            <a:ext cx="11038779" cy="4078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5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С ТРУ ҚАЛЫПТАСТЫРУ ӘДІСТЕМЕСІ</a:t>
            </a:r>
          </a:p>
        </p:txBody>
      </p:sp>
      <p:sp>
        <p:nvSpPr>
          <p:cNvPr id="92" name="Шеврон 91"/>
          <p:cNvSpPr/>
          <p:nvPr/>
        </p:nvSpPr>
        <p:spPr>
          <a:xfrm>
            <a:off x="3082080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РЕЕСТРЛЕР (ТПФ/ОИН)</a:t>
            </a:r>
          </a:p>
        </p:txBody>
      </p:sp>
      <p:sp>
        <p:nvSpPr>
          <p:cNvPr id="93" name="Шеврон 92"/>
          <p:cNvSpPr/>
          <p:nvPr/>
        </p:nvSpPr>
        <p:spPr>
          <a:xfrm>
            <a:off x="6090212" y="43570"/>
            <a:ext cx="3024000" cy="180000"/>
          </a:xfrm>
          <a:prstGeom prst="chevron">
            <a:avLst>
              <a:gd name="adj" fmla="val 46736"/>
            </a:avLst>
          </a:prstGeom>
          <a:solidFill>
            <a:srgbClr val="D9D9D9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. ПКО</a:t>
            </a:r>
          </a:p>
        </p:txBody>
      </p:sp>
      <p:sp>
        <p:nvSpPr>
          <p:cNvPr id="94" name="Шеврон 93"/>
          <p:cNvSpPr/>
          <p:nvPr/>
        </p:nvSpPr>
        <p:spPr>
          <a:xfrm>
            <a:off x="9095936" y="43570"/>
            <a:ext cx="3024000" cy="180000"/>
          </a:xfrm>
          <a:prstGeom prst="chevron">
            <a:avLst>
              <a:gd name="adj" fmla="val 46736"/>
            </a:avLst>
          </a:prstGeom>
          <a:solidFill>
            <a:srgbClr val="17335D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. ЕНС ТРУ</a:t>
            </a:r>
          </a:p>
        </p:txBody>
      </p:sp>
      <p:sp>
        <p:nvSpPr>
          <p:cNvPr id="95" name="Пятиугольник 94"/>
          <p:cNvSpPr/>
          <p:nvPr/>
        </p:nvSpPr>
        <p:spPr>
          <a:xfrm>
            <a:off x="76356" y="47575"/>
            <a:ext cx="3024000" cy="18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kk-KZ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</a:t>
            </a:r>
            <a:r>
              <a:rPr lang="ru-RU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ФТЕЙК-КЕЛІСІМШАРТТАР</a:t>
            </a:r>
            <a:endParaRPr lang="ru-RU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4" name="Прямоугольник 103"/>
          <p:cNvSpPr/>
          <p:nvPr/>
        </p:nvSpPr>
        <p:spPr>
          <a:xfrm>
            <a:off x="207596" y="1523239"/>
            <a:ext cx="5606856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С ТРУ </a:t>
            </a:r>
            <a:r>
              <a:rPr lang="ru-RU" sz="1600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ректерін</a:t>
            </a:r>
            <a:r>
              <a:rPr lang="ru-RU" sz="16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гізу</a:t>
            </a:r>
            <a:r>
              <a:rPr lang="ru-RU" sz="16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6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зектендіру</a:t>
            </a:r>
            <a:r>
              <a:rPr lang="ru-RU" sz="16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дістемесі</a:t>
            </a:r>
            <a:r>
              <a:rPr lang="ru-RU" sz="16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i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"</a:t>
            </a:r>
            <a:r>
              <a:rPr lang="ru-RU" sz="1400" i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КК" ЖШС </a:t>
            </a:r>
            <a:r>
              <a:rPr lang="ru-RU" sz="1400" i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ұйрығы</a:t>
            </a:r>
            <a:r>
              <a:rPr lang="ru-RU" sz="1400" i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;</a:t>
            </a:r>
            <a:endParaRPr lang="ru-RU" sz="1400" i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 algn="just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С ТРУ </a:t>
            </a:r>
            <a:r>
              <a:rPr lang="ru-RU" sz="1600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лыптастыру</a:t>
            </a:r>
            <a:r>
              <a:rPr lang="ru-RU" sz="16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6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кіту</a:t>
            </a:r>
            <a:r>
              <a:rPr lang="ru-RU" sz="16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гламенті</a:t>
            </a:r>
            <a:r>
              <a:rPr lang="ru-RU" sz="16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i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"СКК" ЖШС </a:t>
            </a:r>
            <a:r>
              <a:rPr lang="ru-RU" sz="1400" i="1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ұйрығы</a:t>
            </a:r>
            <a:r>
              <a:rPr lang="ru-RU" sz="1400" i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;</a:t>
            </a:r>
          </a:p>
          <a:p>
            <a:pPr marL="342900" indent="-342900" algn="just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С ТРУ </a:t>
            </a:r>
            <a:r>
              <a:rPr lang="ru-RU" sz="1600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дтардын</a:t>
            </a:r>
            <a:r>
              <a:rPr lang="ru-RU" sz="16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ау</a:t>
            </a:r>
            <a:r>
              <a:rPr lang="ru-RU" sz="16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6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кіту</a:t>
            </a:r>
            <a:r>
              <a:rPr lang="ru-RU" sz="16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өніндегі</a:t>
            </a:r>
            <a:r>
              <a:rPr lang="ru-RU" sz="16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едомствоаралық</a:t>
            </a:r>
            <a:r>
              <a:rPr lang="ru-RU" sz="16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миссия.</a:t>
            </a:r>
            <a:endParaRPr lang="ru-RU" sz="16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9" name="Прямоугольник 108"/>
          <p:cNvSpPr/>
          <p:nvPr/>
        </p:nvSpPr>
        <p:spPr>
          <a:xfrm>
            <a:off x="137386" y="1170172"/>
            <a:ext cx="5838991" cy="5612433"/>
          </a:xfrm>
          <a:prstGeom prst="rect">
            <a:avLst/>
          </a:prstGeom>
          <a:noFill/>
          <a:ln w="19050">
            <a:solidFill>
              <a:schemeClr val="accent2">
                <a:lumMod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4" name="Прямоугольник 113"/>
          <p:cNvSpPr/>
          <p:nvPr/>
        </p:nvSpPr>
        <p:spPr>
          <a:xfrm>
            <a:off x="1356586" y="905683"/>
            <a:ext cx="3238151" cy="536438"/>
          </a:xfrm>
          <a:prstGeom prst="rect">
            <a:avLst/>
          </a:prstGeom>
          <a:solidFill>
            <a:schemeClr val="accent2">
              <a:lumMod val="25000"/>
            </a:schemeClr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ОРМАТИВТІК НЕГІЗ</a:t>
            </a:r>
          </a:p>
        </p:txBody>
      </p:sp>
      <p:sp>
        <p:nvSpPr>
          <p:cNvPr id="115" name="Прямоугольник 114"/>
          <p:cNvSpPr/>
          <p:nvPr/>
        </p:nvSpPr>
        <p:spPr>
          <a:xfrm>
            <a:off x="1780654" y="3414545"/>
            <a:ext cx="24913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МИССИЯ ҚҰРАМЫ</a:t>
            </a:r>
            <a:r>
              <a:rPr lang="ru-RU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endParaRPr lang="ru-RU" b="1" dirty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6" name="Прямоугольник 115"/>
          <p:cNvSpPr/>
          <p:nvPr/>
        </p:nvSpPr>
        <p:spPr>
          <a:xfrm>
            <a:off x="328567" y="3791180"/>
            <a:ext cx="5485885" cy="2369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Р </a:t>
            </a:r>
            <a:r>
              <a:rPr lang="ru-RU" sz="1400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жы</a:t>
            </a:r>
            <a:r>
              <a:rPr lang="ru-RU" sz="14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инистрлігі</a:t>
            </a:r>
            <a:r>
              <a:rPr lang="ru-RU" sz="14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endParaRPr lang="ru-RU" sz="14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Р </a:t>
            </a:r>
            <a:r>
              <a:rPr lang="ru-RU" sz="1400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уда</a:t>
            </a:r>
            <a:r>
              <a:rPr lang="ru-RU" sz="14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4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интеграция </a:t>
            </a:r>
            <a:r>
              <a:rPr lang="ru-RU" sz="1400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инистрлігі</a:t>
            </a:r>
            <a:r>
              <a:rPr lang="ru-RU" sz="14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endParaRPr lang="ru-RU" sz="14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Р </a:t>
            </a:r>
            <a:r>
              <a:rPr lang="ru-RU" sz="14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дустрия </a:t>
            </a:r>
            <a:r>
              <a:rPr lang="ru-RU" sz="1400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4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рақұрылымдық</a:t>
            </a:r>
            <a:r>
              <a:rPr lang="ru-RU" sz="14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даму </a:t>
            </a:r>
            <a:r>
              <a:rPr lang="ru-RU" sz="1400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инистрлігі</a:t>
            </a:r>
            <a:r>
              <a:rPr lang="ru-RU" sz="14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endParaRPr lang="ru-RU" sz="1400" dirty="0" smtClean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Р </a:t>
            </a:r>
            <a:r>
              <a:rPr lang="ru-RU" sz="1400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Цифрлық</a:t>
            </a:r>
            <a:r>
              <a:rPr lang="ru-RU" sz="14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даму, </a:t>
            </a:r>
            <a:r>
              <a:rPr lang="ru-RU" sz="1400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новациялар</a:t>
            </a:r>
            <a:r>
              <a:rPr lang="ru-RU" sz="14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kk-KZ" sz="14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 аэроғарыш өнеркәсібі министрлігі</a:t>
            </a:r>
            <a:endParaRPr lang="ru-RU" sz="14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Р «</a:t>
            </a:r>
            <a:r>
              <a:rPr lang="ru-RU" sz="1400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тамекен</a:t>
            </a:r>
            <a:r>
              <a:rPr lang="ru-RU" sz="14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ҰКП</a:t>
            </a:r>
            <a:endParaRPr lang="ru-RU" sz="14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ru-RU" sz="1400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мұрық-Қазына</a:t>
            </a:r>
            <a:r>
              <a:rPr lang="ru-RU" sz="14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тракт</a:t>
            </a:r>
            <a:r>
              <a:rPr lang="ru-RU" sz="14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ЖШС</a:t>
            </a:r>
            <a:endParaRPr lang="ru-RU" sz="14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17" name="Прямая соединительная линия 116"/>
          <p:cNvCxnSpPr/>
          <p:nvPr/>
        </p:nvCxnSpPr>
        <p:spPr>
          <a:xfrm>
            <a:off x="328567" y="6167508"/>
            <a:ext cx="5485885" cy="0"/>
          </a:xfrm>
          <a:prstGeom prst="line">
            <a:avLst/>
          </a:prstGeom>
          <a:ln w="127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Прямоугольник 117"/>
          <p:cNvSpPr/>
          <p:nvPr/>
        </p:nvSpPr>
        <p:spPr>
          <a:xfrm>
            <a:off x="268081" y="6204820"/>
            <a:ext cx="56320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1200"/>
              </a:spcBef>
            </a:pPr>
            <a:r>
              <a:rPr lang="ru-RU" sz="14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С ТРУ </a:t>
            </a:r>
            <a:r>
              <a:rPr lang="ru-RU" sz="1400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дтарын</a:t>
            </a:r>
            <a:r>
              <a:rPr lang="ru-RU" sz="14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ру</a:t>
            </a:r>
            <a:r>
              <a:rPr lang="ru-RU" sz="14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4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кіту</a:t>
            </a:r>
            <a:r>
              <a:rPr lang="ru-RU" sz="14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400" b="1" i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stru.kz </a:t>
            </a:r>
            <a:r>
              <a:rPr lang="ru-RU" sz="1400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қпараттық</a:t>
            </a:r>
            <a:r>
              <a:rPr lang="ru-RU" sz="14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үйесінде</a:t>
            </a:r>
            <a:r>
              <a:rPr lang="ru-RU" sz="14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үзеге</a:t>
            </a:r>
            <a:r>
              <a:rPr lang="ru-RU" sz="14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сырылады</a:t>
            </a:r>
            <a:endParaRPr lang="ru-RU" sz="1600" b="1" i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9" name="Прямоугольник 118"/>
          <p:cNvSpPr/>
          <p:nvPr/>
        </p:nvSpPr>
        <p:spPr>
          <a:xfrm>
            <a:off x="6216409" y="1170171"/>
            <a:ext cx="5838991" cy="5612433"/>
          </a:xfrm>
          <a:prstGeom prst="rect">
            <a:avLst/>
          </a:prstGeom>
          <a:noFill/>
          <a:ln w="19050">
            <a:solidFill>
              <a:schemeClr val="accent2">
                <a:lumMod val="2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1" name="Прямоугольник 130"/>
          <p:cNvSpPr/>
          <p:nvPr/>
        </p:nvSpPr>
        <p:spPr>
          <a:xfrm>
            <a:off x="7516828" y="905683"/>
            <a:ext cx="3238151" cy="536438"/>
          </a:xfrm>
          <a:prstGeom prst="rect">
            <a:avLst/>
          </a:prstGeom>
          <a:solidFill>
            <a:schemeClr val="accent2">
              <a:lumMod val="25000"/>
            </a:schemeClr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b="1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ТИСТИКА</a:t>
            </a:r>
            <a:endParaRPr lang="ru-RU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2" name="Прямоугольник 131"/>
          <p:cNvSpPr/>
          <p:nvPr/>
        </p:nvSpPr>
        <p:spPr>
          <a:xfrm>
            <a:off x="6697275" y="2974517"/>
            <a:ext cx="651928" cy="999727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3" name="Прямоугольник 132"/>
          <p:cNvSpPr/>
          <p:nvPr/>
        </p:nvSpPr>
        <p:spPr>
          <a:xfrm>
            <a:off x="7779472" y="3481126"/>
            <a:ext cx="651928" cy="493118"/>
          </a:xfrm>
          <a:prstGeom prst="rect">
            <a:avLst/>
          </a:prstGeom>
          <a:solidFill>
            <a:srgbClr val="1C7CBB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4" name="Прямоугольник 133"/>
          <p:cNvSpPr/>
          <p:nvPr/>
        </p:nvSpPr>
        <p:spPr>
          <a:xfrm>
            <a:off x="9578301" y="2531315"/>
            <a:ext cx="651928" cy="1442930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5" name="Прямоугольник 134"/>
          <p:cNvSpPr/>
          <p:nvPr/>
        </p:nvSpPr>
        <p:spPr>
          <a:xfrm>
            <a:off x="10751544" y="3465880"/>
            <a:ext cx="651928" cy="508364"/>
          </a:xfrm>
          <a:prstGeom prst="rect">
            <a:avLst/>
          </a:prstGeom>
          <a:solidFill>
            <a:srgbClr val="1C7CBB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36" name="Прямая соединительная линия 135"/>
          <p:cNvCxnSpPr/>
          <p:nvPr/>
        </p:nvCxnSpPr>
        <p:spPr>
          <a:xfrm flipV="1">
            <a:off x="6561176" y="3992773"/>
            <a:ext cx="1961503" cy="0"/>
          </a:xfrm>
          <a:prstGeom prst="line">
            <a:avLst/>
          </a:prstGeom>
          <a:ln w="2857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TextBox 137"/>
          <p:cNvSpPr txBox="1"/>
          <p:nvPr/>
        </p:nvSpPr>
        <p:spPr>
          <a:xfrm>
            <a:off x="6931022" y="1584937"/>
            <a:ext cx="1221809" cy="489534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1 ж.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9882478" y="1626045"/>
            <a:ext cx="1221809" cy="489534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2 ж.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6635787" y="2571822"/>
            <a:ext cx="751115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465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7797756" y="3142925"/>
            <a:ext cx="644979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84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9523264" y="2139291"/>
            <a:ext cx="821207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1 412</a:t>
            </a:r>
          </a:p>
        </p:txBody>
      </p:sp>
      <p:sp>
        <p:nvSpPr>
          <p:cNvPr id="143" name="TextBox 142"/>
          <p:cNvSpPr txBox="1"/>
          <p:nvPr/>
        </p:nvSpPr>
        <p:spPr>
          <a:xfrm>
            <a:off x="10745309" y="3128686"/>
            <a:ext cx="620486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50</a:t>
            </a:r>
          </a:p>
        </p:txBody>
      </p:sp>
      <p:sp>
        <p:nvSpPr>
          <p:cNvPr id="144" name="TextBox 143"/>
          <p:cNvSpPr txBox="1"/>
          <p:nvPr/>
        </p:nvSpPr>
        <p:spPr>
          <a:xfrm>
            <a:off x="6317030" y="4002298"/>
            <a:ext cx="1412417" cy="551090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>
              <a:spcBef>
                <a:spcPts val="600"/>
              </a:spcBef>
              <a:spcAft>
                <a:spcPts val="1000"/>
              </a:spcAft>
              <a:buClr>
                <a:srgbClr val="C7D3E6"/>
              </a:buClr>
              <a:buSzPct val="100000"/>
            </a:pPr>
            <a:r>
              <a:rPr lang="ru-RU" sz="1200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алған</a:t>
            </a:r>
            <a:r>
              <a:rPr lang="ru-RU" sz="12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інімдер</a:t>
            </a:r>
            <a:endParaRPr lang="ru-RU" sz="1200" dirty="0" smtClean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7598049" y="4057755"/>
            <a:ext cx="1106400" cy="36642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>
              <a:spcBef>
                <a:spcPts val="600"/>
              </a:spcBef>
              <a:spcAft>
                <a:spcPts val="1000"/>
              </a:spcAft>
              <a:buClr>
                <a:srgbClr val="C7D3E6"/>
              </a:buClr>
              <a:buSzPct val="100000"/>
            </a:pPr>
            <a:r>
              <a:rPr lang="ru-RU" sz="1200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кітілді</a:t>
            </a:r>
            <a:endParaRPr lang="ru-RU" sz="1200" dirty="0" smtClean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6" name="TextBox 145"/>
          <p:cNvSpPr txBox="1"/>
          <p:nvPr/>
        </p:nvSpPr>
        <p:spPr>
          <a:xfrm>
            <a:off x="9211280" y="3976387"/>
            <a:ext cx="1412417" cy="551090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>
              <a:spcBef>
                <a:spcPts val="600"/>
              </a:spcBef>
              <a:spcAft>
                <a:spcPts val="1000"/>
              </a:spcAft>
              <a:buClr>
                <a:srgbClr val="C7D3E6"/>
              </a:buClr>
              <a:buSzPct val="100000"/>
            </a:pPr>
            <a:r>
              <a:rPr lang="ru-RU" sz="1200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алған</a:t>
            </a:r>
            <a:r>
              <a:rPr lang="ru-RU" sz="12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інімдер</a:t>
            </a:r>
            <a:endParaRPr lang="ru-RU" sz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7" name="TextBox 146"/>
          <p:cNvSpPr txBox="1"/>
          <p:nvPr/>
        </p:nvSpPr>
        <p:spPr>
          <a:xfrm>
            <a:off x="10548490" y="4028688"/>
            <a:ext cx="1106400" cy="756274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>
              <a:spcBef>
                <a:spcPts val="600"/>
              </a:spcBef>
              <a:spcAft>
                <a:spcPts val="1000"/>
              </a:spcAft>
              <a:buClr>
                <a:srgbClr val="C7D3E6"/>
              </a:buClr>
              <a:buSzPct val="100000"/>
            </a:pPr>
            <a:r>
              <a:rPr lang="ru-RU" sz="1200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кітілді</a:t>
            </a:r>
            <a:endParaRPr lang="ru-RU" sz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>
              <a:spcBef>
                <a:spcPts val="600"/>
              </a:spcBef>
              <a:spcAft>
                <a:spcPts val="1000"/>
              </a:spcAft>
              <a:buClr>
                <a:srgbClr val="C7D3E6"/>
              </a:buClr>
              <a:buSzPct val="100000"/>
            </a:pPr>
            <a:endParaRPr lang="ru-RU" sz="1200" dirty="0" smtClean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48" name="Прямая соединительная линия 147"/>
          <p:cNvCxnSpPr/>
          <p:nvPr/>
        </p:nvCxnSpPr>
        <p:spPr>
          <a:xfrm>
            <a:off x="6317030" y="4588680"/>
            <a:ext cx="5485885" cy="0"/>
          </a:xfrm>
          <a:prstGeom prst="line">
            <a:avLst/>
          </a:prstGeom>
          <a:ln w="127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TextBox 148"/>
          <p:cNvSpPr txBox="1"/>
          <p:nvPr/>
        </p:nvSpPr>
        <p:spPr>
          <a:xfrm>
            <a:off x="6253145" y="5370202"/>
            <a:ext cx="5802255" cy="1397475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ru-RU" sz="16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1.06.2022 ж. </a:t>
            </a:r>
            <a:r>
              <a:rPr lang="ru-RU" sz="1600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ғдай</a:t>
            </a:r>
            <a:r>
              <a:rPr lang="ru-RU" sz="16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йынша</a:t>
            </a:r>
            <a:r>
              <a:rPr lang="ru-RU" sz="16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1 589 код </a:t>
            </a:r>
            <a:r>
              <a:rPr lang="ru-RU" sz="1600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лданылады</a:t>
            </a:r>
            <a:r>
              <a:rPr lang="ru-RU" sz="16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i="1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уарлар</a:t>
            </a:r>
            <a:r>
              <a:rPr lang="ru-RU" sz="1600" i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– 49 216;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i="1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ұмыстар</a:t>
            </a:r>
            <a:r>
              <a:rPr lang="ru-RU" sz="1600" i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– 530;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i="1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меттер</a:t>
            </a:r>
            <a:r>
              <a:rPr lang="ru-RU" sz="1600" i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– 1 843.</a:t>
            </a:r>
          </a:p>
        </p:txBody>
      </p:sp>
      <p:sp>
        <p:nvSpPr>
          <p:cNvPr id="150" name="Прямоугольник 149"/>
          <p:cNvSpPr/>
          <p:nvPr/>
        </p:nvSpPr>
        <p:spPr>
          <a:xfrm>
            <a:off x="6253145" y="4721078"/>
            <a:ext cx="573837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0 </a:t>
            </a:r>
            <a:r>
              <a:rPr lang="ru-RU" sz="1600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ы</a:t>
            </a:r>
            <a:r>
              <a:rPr lang="ru-RU" sz="16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С ТРУ </a:t>
            </a:r>
            <a:r>
              <a:rPr lang="ru-RU" sz="1600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ңтайландыру</a:t>
            </a:r>
            <a:r>
              <a:rPr lang="ru-RU" sz="16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үргізілді</a:t>
            </a:r>
            <a:r>
              <a:rPr lang="ru-RU" sz="16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  <a:r>
              <a:rPr lang="ru-RU" sz="1600" dirty="0" err="1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дтардың</a:t>
            </a:r>
            <a:r>
              <a:rPr lang="ru-RU" sz="16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ны </a:t>
            </a:r>
            <a:r>
              <a:rPr lang="ru-RU" sz="16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5 540-тан </a:t>
            </a:r>
            <a:r>
              <a:rPr lang="ru-RU" sz="16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0 </a:t>
            </a:r>
            <a:r>
              <a:rPr lang="ru-RU" sz="16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83-ке</a:t>
            </a:r>
            <a:r>
              <a:rPr lang="ru-RU" sz="1600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сқартылды</a:t>
            </a:r>
            <a:r>
              <a:rPr lang="ru-RU" sz="16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ru-RU" sz="1600" b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37" name="Прямая соединительная линия 136"/>
          <p:cNvCxnSpPr/>
          <p:nvPr/>
        </p:nvCxnSpPr>
        <p:spPr>
          <a:xfrm>
            <a:off x="9451025" y="3992773"/>
            <a:ext cx="2084717" cy="0"/>
          </a:xfrm>
          <a:prstGeom prst="line">
            <a:avLst/>
          </a:prstGeom>
          <a:ln w="2857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7041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033885" y="346455"/>
            <a:ext cx="11038779" cy="4078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5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С ТРУ ҚАЛЫПТАСТЫРУ ӘДІСТЕМЕСІ</a:t>
            </a:r>
          </a:p>
        </p:txBody>
      </p:sp>
      <p:sp>
        <p:nvSpPr>
          <p:cNvPr id="92" name="Шеврон 91"/>
          <p:cNvSpPr/>
          <p:nvPr/>
        </p:nvSpPr>
        <p:spPr>
          <a:xfrm>
            <a:off x="3082080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РЕЕСТРЛЕР (ТПФ/ОИН)</a:t>
            </a:r>
          </a:p>
        </p:txBody>
      </p:sp>
      <p:sp>
        <p:nvSpPr>
          <p:cNvPr id="93" name="Шеврон 92"/>
          <p:cNvSpPr/>
          <p:nvPr/>
        </p:nvSpPr>
        <p:spPr>
          <a:xfrm>
            <a:off x="6090212" y="43570"/>
            <a:ext cx="3024000" cy="180000"/>
          </a:xfrm>
          <a:prstGeom prst="chevron">
            <a:avLst>
              <a:gd name="adj" fmla="val 46736"/>
            </a:avLst>
          </a:prstGeom>
          <a:solidFill>
            <a:srgbClr val="D9D9D9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. ПКО</a:t>
            </a:r>
          </a:p>
        </p:txBody>
      </p:sp>
      <p:sp>
        <p:nvSpPr>
          <p:cNvPr id="94" name="Шеврон 93"/>
          <p:cNvSpPr/>
          <p:nvPr/>
        </p:nvSpPr>
        <p:spPr>
          <a:xfrm>
            <a:off x="9095936" y="43570"/>
            <a:ext cx="3024000" cy="180000"/>
          </a:xfrm>
          <a:prstGeom prst="chevron">
            <a:avLst>
              <a:gd name="adj" fmla="val 46736"/>
            </a:avLst>
          </a:prstGeom>
          <a:solidFill>
            <a:srgbClr val="17335D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. ЕНС ТРУ</a:t>
            </a:r>
          </a:p>
        </p:txBody>
      </p:sp>
      <p:sp>
        <p:nvSpPr>
          <p:cNvPr id="95" name="Пятиугольник 94"/>
          <p:cNvSpPr/>
          <p:nvPr/>
        </p:nvSpPr>
        <p:spPr>
          <a:xfrm>
            <a:off x="76356" y="47575"/>
            <a:ext cx="3024000" cy="18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kk-KZ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</a:t>
            </a:r>
            <a:r>
              <a:rPr lang="ru-RU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ФТЕЙК-КЕЛІСІМШАРТТАР</a:t>
            </a:r>
            <a:endParaRPr lang="ru-RU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3251540" y="849454"/>
            <a:ext cx="3986026" cy="879636"/>
          </a:xfrm>
          <a:prstGeom prst="rect">
            <a:avLst/>
          </a:prstGeom>
          <a:solidFill>
            <a:srgbClr val="173F59"/>
          </a:solidFill>
          <a:ln w="19050">
            <a:solidFill>
              <a:srgbClr val="173F5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С ТРУ КОДЫН </a:t>
            </a:r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СУҒА ӨТІНІШ </a:t>
            </a:r>
            <a:r>
              <a:rPr lang="ru-RU" sz="1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ЛЫПТАСТЫРУ</a:t>
            </a:r>
            <a:r>
              <a:rPr lang="ru-RU" sz="14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</a:t>
            </a:r>
            <a:r>
              <a:rPr lang="ru-RU" sz="1400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млекеттік</a:t>
            </a:r>
            <a:r>
              <a:rPr lang="ru-RU" sz="14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орган, </a:t>
            </a:r>
            <a:r>
              <a:rPr lang="ru-RU" sz="1400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ұлттық</a:t>
            </a:r>
            <a:r>
              <a:rPr lang="ru-RU" sz="14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компания, </a:t>
            </a:r>
            <a:r>
              <a:rPr lang="kk-KZ" sz="14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ңды/жеке</a:t>
            </a:r>
            <a:r>
              <a:rPr lang="ru-RU" sz="14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ұлға</a:t>
            </a:r>
            <a:r>
              <a:rPr lang="ru-RU" sz="14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ru-RU" sz="14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3251540" y="2264983"/>
            <a:ext cx="3986026" cy="582635"/>
          </a:xfrm>
          <a:prstGeom prst="rect">
            <a:avLst/>
          </a:prstGeom>
          <a:solidFill>
            <a:schemeClr val="bg1"/>
          </a:solidFill>
          <a:ln w="19050">
            <a:solidFill>
              <a:srgbClr val="173F5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ІНІМДІ </a:t>
            </a:r>
            <a:r>
              <a:rPr lang="ru-RU" sz="1400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АУ</a:t>
            </a:r>
          </a:p>
          <a:p>
            <a:pPr algn="ctr"/>
            <a:r>
              <a:rPr lang="ru-RU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СКК </a:t>
            </a:r>
            <a:r>
              <a:rPr lang="ru-RU" sz="1400" dirty="0" err="1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рапшысы</a:t>
            </a:r>
            <a:r>
              <a:rPr lang="ru-RU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ru-RU" sz="14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4112879" y="5913674"/>
            <a:ext cx="2508463" cy="844509"/>
          </a:xfrm>
          <a:prstGeom prst="rect">
            <a:avLst/>
          </a:prstGeom>
          <a:solidFill>
            <a:srgbClr val="1D927D"/>
          </a:solidFill>
          <a:ln w="19050">
            <a:solidFill>
              <a:srgbClr val="1D927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ҢА ЕНС ТРУ КОДЫН ЖАСАУ</a:t>
            </a: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АҚПАРАТТЫҚ ЖҮЙЕ)</a:t>
            </a:r>
            <a:endParaRPr lang="ru-RU" sz="14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" name="Ромб 38"/>
          <p:cNvSpPr/>
          <p:nvPr/>
        </p:nvSpPr>
        <p:spPr>
          <a:xfrm>
            <a:off x="4019348" y="4576303"/>
            <a:ext cx="2524818" cy="922114"/>
          </a:xfrm>
          <a:prstGeom prst="diamond">
            <a:avLst/>
          </a:prstGeom>
          <a:solidFill>
            <a:schemeClr val="bg1"/>
          </a:solidFill>
          <a:ln w="19050">
            <a:solidFill>
              <a:srgbClr val="173F5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4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101316" y="3396200"/>
            <a:ext cx="2884054" cy="761511"/>
          </a:xfrm>
          <a:prstGeom prst="rect">
            <a:avLst/>
          </a:prstGeom>
          <a:solidFill>
            <a:schemeClr val="bg1"/>
          </a:solidFill>
          <a:ln w="19050">
            <a:solidFill>
              <a:srgbClr val="173F5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ҰСЫНЫЛҒАН КОДПЕН ӨТІНІШ БЕРУШІГЕ </a:t>
            </a:r>
            <a:r>
              <a:rPr lang="ru-RU" sz="1400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ЙТАРУ</a:t>
            </a:r>
          </a:p>
          <a:p>
            <a:pPr algn="ctr"/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СКК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рапшысы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3272407" y="3396599"/>
            <a:ext cx="3227867" cy="760712"/>
          </a:xfrm>
          <a:prstGeom prst="rect">
            <a:avLst/>
          </a:prstGeom>
          <a:solidFill>
            <a:schemeClr val="bg1"/>
          </a:solidFill>
          <a:ln w="19050">
            <a:solidFill>
              <a:srgbClr val="173F5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МИССИЯНЫҢ ҚАРАУЫ ҮШІН АЙҚЫНДАМА </a:t>
            </a:r>
            <a:r>
              <a:rPr lang="ru-RU" sz="1400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ЛЫПТАСТЫРУ</a:t>
            </a:r>
          </a:p>
          <a:p>
            <a:pPr algn="ctr"/>
            <a:r>
              <a:rPr lang="ru-RU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СКК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рапшысы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</p:txBody>
      </p:sp>
      <p:cxnSp>
        <p:nvCxnSpPr>
          <p:cNvPr id="42" name="Прямая со стрелкой 41"/>
          <p:cNvCxnSpPr/>
          <p:nvPr/>
        </p:nvCxnSpPr>
        <p:spPr>
          <a:xfrm flipH="1">
            <a:off x="2233083" y="2556300"/>
            <a:ext cx="0" cy="839900"/>
          </a:xfrm>
          <a:prstGeom prst="straightConnector1">
            <a:avLst/>
          </a:prstGeom>
          <a:ln w="12700">
            <a:solidFill>
              <a:srgbClr val="173F5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 стрелкой 42"/>
          <p:cNvCxnSpPr>
            <a:stCxn id="36" idx="2"/>
            <a:endCxn id="37" idx="0"/>
          </p:cNvCxnSpPr>
          <p:nvPr/>
        </p:nvCxnSpPr>
        <p:spPr>
          <a:xfrm>
            <a:off x="5244553" y="1729090"/>
            <a:ext cx="0" cy="535893"/>
          </a:xfrm>
          <a:prstGeom prst="straightConnector1">
            <a:avLst/>
          </a:prstGeom>
          <a:ln w="12700">
            <a:solidFill>
              <a:srgbClr val="173F5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2044566" y="2219239"/>
            <a:ext cx="1293341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ru-RU" sz="1400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д бар</a:t>
            </a:r>
            <a:endParaRPr lang="ru-RU" sz="1400" dirty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2229856" y="2556300"/>
            <a:ext cx="1021684" cy="0"/>
          </a:xfrm>
          <a:prstGeom prst="line">
            <a:avLst/>
          </a:prstGeom>
          <a:ln w="12700">
            <a:solidFill>
              <a:srgbClr val="173F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 стрелкой 45"/>
          <p:cNvCxnSpPr>
            <a:stCxn id="37" idx="2"/>
          </p:cNvCxnSpPr>
          <p:nvPr/>
        </p:nvCxnSpPr>
        <p:spPr>
          <a:xfrm>
            <a:off x="5244553" y="2847618"/>
            <a:ext cx="0" cy="545704"/>
          </a:xfrm>
          <a:prstGeom prst="straightConnector1">
            <a:avLst/>
          </a:prstGeom>
          <a:ln w="12700">
            <a:solidFill>
              <a:srgbClr val="173F5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5259831" y="2902764"/>
            <a:ext cx="909224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400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д </a:t>
            </a:r>
            <a:r>
              <a:rPr lang="ru-RU" sz="1400" dirty="0" err="1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қ</a:t>
            </a:r>
            <a:r>
              <a:rPr lang="ru-RU" sz="1400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607523" y="4576303"/>
            <a:ext cx="2404063" cy="852970"/>
          </a:xfrm>
          <a:prstGeom prst="rect">
            <a:avLst/>
          </a:prstGeom>
          <a:solidFill>
            <a:schemeClr val="bg1"/>
          </a:solidFill>
          <a:ln w="19050">
            <a:solidFill>
              <a:srgbClr val="173F5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ІНІШ БЕРУШІГЕ ПЫСЫҚТАУҒА </a:t>
            </a:r>
            <a:r>
              <a:rPr lang="ru-RU" sz="1400" b="1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ЙТАРУ</a:t>
            </a:r>
            <a:endParaRPr lang="en-US" sz="1400" b="1" dirty="0" smtClean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КК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рапшысы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</p:txBody>
      </p:sp>
      <p:cxnSp>
        <p:nvCxnSpPr>
          <p:cNvPr id="49" name="Прямая со стрелкой 48"/>
          <p:cNvCxnSpPr>
            <a:stCxn id="39" idx="2"/>
          </p:cNvCxnSpPr>
          <p:nvPr/>
        </p:nvCxnSpPr>
        <p:spPr>
          <a:xfrm flipH="1">
            <a:off x="5281756" y="5498417"/>
            <a:ext cx="1" cy="415257"/>
          </a:xfrm>
          <a:prstGeom prst="straightConnector1">
            <a:avLst/>
          </a:prstGeom>
          <a:ln w="12700">
            <a:solidFill>
              <a:srgbClr val="173F5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5265440" y="5452231"/>
            <a:ext cx="478110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ru-RU" sz="1400" dirty="0" err="1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я</a:t>
            </a:r>
            <a:endParaRPr lang="ru-RU" sz="1400" dirty="0" smtClean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7736030" y="4670899"/>
            <a:ext cx="679629" cy="39720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ru-RU" sz="1400" dirty="0" err="1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қ</a:t>
            </a:r>
            <a:endParaRPr lang="ru-RU" sz="1400" dirty="0" smtClean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52" name="Прямая со стрелкой 51"/>
          <p:cNvCxnSpPr/>
          <p:nvPr/>
        </p:nvCxnSpPr>
        <p:spPr>
          <a:xfrm flipV="1">
            <a:off x="6544166" y="5047782"/>
            <a:ext cx="3063357" cy="0"/>
          </a:xfrm>
          <a:prstGeom prst="straightConnector1">
            <a:avLst/>
          </a:prstGeom>
          <a:ln w="12700">
            <a:solidFill>
              <a:srgbClr val="173F5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/>
          <p:nvPr/>
        </p:nvCxnSpPr>
        <p:spPr>
          <a:xfrm>
            <a:off x="10839024" y="1272897"/>
            <a:ext cx="0" cy="3285040"/>
          </a:xfrm>
          <a:prstGeom prst="line">
            <a:avLst/>
          </a:prstGeom>
          <a:ln w="12700">
            <a:solidFill>
              <a:srgbClr val="173F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 стрелкой 53"/>
          <p:cNvCxnSpPr>
            <a:endCxn id="36" idx="3"/>
          </p:cNvCxnSpPr>
          <p:nvPr/>
        </p:nvCxnSpPr>
        <p:spPr>
          <a:xfrm flipH="1">
            <a:off x="7237566" y="1272897"/>
            <a:ext cx="3598564" cy="0"/>
          </a:xfrm>
          <a:prstGeom prst="straightConnector1">
            <a:avLst/>
          </a:prstGeom>
          <a:ln w="12700">
            <a:solidFill>
              <a:srgbClr val="173F5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>
            <a:endCxn id="40" idx="0"/>
          </p:cNvCxnSpPr>
          <p:nvPr/>
        </p:nvCxnSpPr>
        <p:spPr>
          <a:xfrm>
            <a:off x="1483033" y="1289272"/>
            <a:ext cx="0" cy="2106928"/>
          </a:xfrm>
          <a:prstGeom prst="line">
            <a:avLst/>
          </a:prstGeom>
          <a:ln w="12700">
            <a:solidFill>
              <a:srgbClr val="173F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 стрелкой 55"/>
          <p:cNvCxnSpPr/>
          <p:nvPr/>
        </p:nvCxnSpPr>
        <p:spPr>
          <a:xfrm>
            <a:off x="1487488" y="1294035"/>
            <a:ext cx="1746800" cy="0"/>
          </a:xfrm>
          <a:prstGeom prst="straightConnector1">
            <a:avLst/>
          </a:prstGeom>
          <a:ln w="12700">
            <a:solidFill>
              <a:srgbClr val="173F5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/>
          <p:nvPr/>
        </p:nvSpPr>
        <p:spPr>
          <a:xfrm>
            <a:off x="9209712" y="2795041"/>
            <a:ext cx="1626418" cy="612645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әлелдеу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засын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ұсыну</a:t>
            </a:r>
            <a:endParaRPr lang="ru-RU" sz="1400" dirty="0" smtClean="0">
              <a:solidFill>
                <a:schemeClr val="tx2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145314" y="5241688"/>
            <a:ext cx="3201801" cy="1289753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marL="285750" indent="-285750">
              <a:spcBef>
                <a:spcPts val="1800"/>
              </a:spcBef>
              <a:buFont typeface="Wingdings" pitchFamily="2" charset="2"/>
              <a:buChar char="§"/>
            </a:pP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йталанудың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мауы</a:t>
            </a:r>
            <a:endParaRPr lang="ru-RU" sz="1400" dirty="0" smtClean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Bef>
                <a:spcPts val="1800"/>
              </a:spcBef>
              <a:buFont typeface="Wingdings" pitchFamily="2" charset="2"/>
              <a:buChar char="§"/>
            </a:pP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ҚА </a:t>
            </a: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ама-қайшылығы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қ</a:t>
            </a:r>
            <a:endParaRPr lang="ru-RU" sz="1400" dirty="0" smtClean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Bef>
                <a:spcPts val="1800"/>
              </a:spcBef>
              <a:buFont typeface="Wingdings" pitchFamily="2" charset="2"/>
              <a:buChar char="§"/>
            </a:pPr>
            <a:r>
              <a:rPr lang="ru-RU" sz="1400" dirty="0" err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</a:t>
            </a:r>
            <a:r>
              <a:rPr lang="ru-RU" sz="1400" dirty="0" err="1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лелдеу</a:t>
            </a:r>
            <a:r>
              <a:rPr lang="ru-RU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засы</a:t>
            </a:r>
            <a:r>
              <a:rPr lang="ru-RU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уы</a:t>
            </a:r>
            <a:r>
              <a:rPr lang="ru-RU" sz="14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4449210" y="4833254"/>
            <a:ext cx="171984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МИССИЯНЫҢ ҚАРАУЫ</a:t>
            </a:r>
          </a:p>
        </p:txBody>
      </p:sp>
      <p:cxnSp>
        <p:nvCxnSpPr>
          <p:cNvPr id="60" name="Прямая со стрелкой 59"/>
          <p:cNvCxnSpPr>
            <a:endCxn id="39" idx="0"/>
          </p:cNvCxnSpPr>
          <p:nvPr/>
        </p:nvCxnSpPr>
        <p:spPr>
          <a:xfrm>
            <a:off x="5281756" y="4149170"/>
            <a:ext cx="1" cy="427133"/>
          </a:xfrm>
          <a:prstGeom prst="straightConnector1">
            <a:avLst/>
          </a:prstGeom>
          <a:ln w="12700">
            <a:solidFill>
              <a:srgbClr val="173F5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Прямоугольник 60"/>
          <p:cNvSpPr/>
          <p:nvPr/>
        </p:nvSpPr>
        <p:spPr>
          <a:xfrm>
            <a:off x="517412" y="4849416"/>
            <a:ext cx="19239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НЦИПТЕР:</a:t>
            </a:r>
            <a:endParaRPr lang="ru-RU" b="1" dirty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6489677" y="3468218"/>
            <a:ext cx="2179972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М; СИМ; ЦДИАӨМ; </a:t>
            </a:r>
          </a:p>
          <a:p>
            <a:pPr algn="ctr"/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ИДМ; ҰКП; СКК</a:t>
            </a: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6504729" y="3393990"/>
            <a:ext cx="2037909" cy="764010"/>
          </a:xfrm>
          <a:prstGeom prst="rect">
            <a:avLst/>
          </a:prstGeom>
          <a:noFill/>
          <a:ln w="19050">
            <a:solidFill>
              <a:srgbClr val="173F5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400" b="1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0178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033885" y="346455"/>
            <a:ext cx="11038779" cy="4078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5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С ТРУ КОДЫН ҚҰРУ</a:t>
            </a:r>
          </a:p>
        </p:txBody>
      </p:sp>
      <p:sp>
        <p:nvSpPr>
          <p:cNvPr id="92" name="Шеврон 91"/>
          <p:cNvSpPr/>
          <p:nvPr/>
        </p:nvSpPr>
        <p:spPr>
          <a:xfrm>
            <a:off x="3082080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РЕЕСТРЛЕР (ТПФ/ОИН)</a:t>
            </a:r>
          </a:p>
        </p:txBody>
      </p:sp>
      <p:sp>
        <p:nvSpPr>
          <p:cNvPr id="93" name="Шеврон 92"/>
          <p:cNvSpPr/>
          <p:nvPr/>
        </p:nvSpPr>
        <p:spPr>
          <a:xfrm>
            <a:off x="6090212" y="43570"/>
            <a:ext cx="3024000" cy="180000"/>
          </a:xfrm>
          <a:prstGeom prst="chevron">
            <a:avLst>
              <a:gd name="adj" fmla="val 46736"/>
            </a:avLst>
          </a:prstGeom>
          <a:solidFill>
            <a:srgbClr val="D9D9D9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. ПКО</a:t>
            </a:r>
          </a:p>
        </p:txBody>
      </p:sp>
      <p:sp>
        <p:nvSpPr>
          <p:cNvPr id="94" name="Шеврон 93"/>
          <p:cNvSpPr/>
          <p:nvPr/>
        </p:nvSpPr>
        <p:spPr>
          <a:xfrm>
            <a:off x="9095936" y="43570"/>
            <a:ext cx="3024000" cy="180000"/>
          </a:xfrm>
          <a:prstGeom prst="chevron">
            <a:avLst>
              <a:gd name="adj" fmla="val 46736"/>
            </a:avLst>
          </a:prstGeom>
          <a:solidFill>
            <a:srgbClr val="17335D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. ЕНС ТРУ</a:t>
            </a:r>
          </a:p>
        </p:txBody>
      </p:sp>
      <p:sp>
        <p:nvSpPr>
          <p:cNvPr id="95" name="Пятиугольник 94"/>
          <p:cNvSpPr/>
          <p:nvPr/>
        </p:nvSpPr>
        <p:spPr>
          <a:xfrm>
            <a:off x="76356" y="47575"/>
            <a:ext cx="3024000" cy="18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kk-KZ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</a:t>
            </a:r>
            <a:r>
              <a:rPr lang="ru-RU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ФТЕЙК-КЕЛІСІМШАРТТАР</a:t>
            </a:r>
            <a:endParaRPr lang="ru-RU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815290" y="3772211"/>
            <a:ext cx="246894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3200" b="1" dirty="0" smtClean="0">
                <a:solidFill>
                  <a:srgbClr val="173F5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Х Х Х Х Х Х</a:t>
            </a:r>
            <a:endParaRPr lang="ru-RU" sz="3200" b="1" dirty="0">
              <a:solidFill>
                <a:srgbClr val="173F5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5330996" y="3757921"/>
            <a:ext cx="126669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32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Х Х Х</a:t>
            </a:r>
            <a:endParaRPr lang="ru-RU" sz="3200" b="1" dirty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8678361" y="3757920"/>
            <a:ext cx="246894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3200" b="1" dirty="0" smtClean="0">
                <a:solidFill>
                  <a:schemeClr val="accent6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Х Х Х Х Х Х</a:t>
            </a:r>
            <a:endParaRPr lang="ru-RU" sz="3200" b="1" dirty="0">
              <a:solidFill>
                <a:schemeClr val="accent6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518599" y="4259153"/>
            <a:ext cx="982962" cy="427979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600" dirty="0" smtClean="0">
                <a:solidFill>
                  <a:srgbClr val="173F5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6 </a:t>
            </a:r>
            <a:r>
              <a:rPr lang="ru-RU" sz="1600" dirty="0" err="1" smtClean="0">
                <a:solidFill>
                  <a:srgbClr val="173F5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лгі</a:t>
            </a:r>
            <a:r>
              <a:rPr lang="ru-RU" sz="1600" dirty="0" smtClean="0">
                <a:solidFill>
                  <a:srgbClr val="173F5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5449201" y="4244863"/>
            <a:ext cx="982962" cy="427979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600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3 </a:t>
            </a:r>
            <a:r>
              <a:rPr lang="ru-RU" sz="1600" dirty="0" err="1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лгі</a:t>
            </a:r>
            <a:r>
              <a:rPr lang="ru-RU" sz="1600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9379803" y="4244863"/>
            <a:ext cx="982962" cy="427979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600" dirty="0" smtClean="0">
                <a:solidFill>
                  <a:schemeClr val="accent6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6 </a:t>
            </a:r>
            <a:r>
              <a:rPr lang="ru-RU" sz="1600" dirty="0" err="1" smtClean="0">
                <a:solidFill>
                  <a:schemeClr val="accent6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лгі</a:t>
            </a:r>
            <a:r>
              <a:rPr lang="ru-RU" sz="1600" dirty="0" smtClean="0">
                <a:solidFill>
                  <a:schemeClr val="accent6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3946826" y="3772210"/>
            <a:ext cx="52129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32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</a:t>
            </a:r>
            <a:endParaRPr lang="ru-RU" sz="3200" b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7535640" y="3757919"/>
            <a:ext cx="52129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32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</a:t>
            </a:r>
            <a:endParaRPr lang="ru-RU" sz="3200" b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372724" y="3373327"/>
            <a:ext cx="1346844" cy="551090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2400" dirty="0" smtClean="0">
                <a:solidFill>
                  <a:srgbClr val="173F5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П ВЭД </a:t>
            </a:r>
          </a:p>
        </p:txBody>
      </p:sp>
      <p:sp>
        <p:nvSpPr>
          <p:cNvPr id="72" name="Правая фигурная скобка 71"/>
          <p:cNvSpPr/>
          <p:nvPr/>
        </p:nvSpPr>
        <p:spPr>
          <a:xfrm rot="16200000">
            <a:off x="3593348" y="515749"/>
            <a:ext cx="330186" cy="5731103"/>
          </a:xfrm>
          <a:prstGeom prst="righ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729470" y="1492980"/>
            <a:ext cx="7710765" cy="1289753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r>
              <a:rPr lang="ru-RU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КПП</a:t>
            </a:r>
            <a:r>
              <a:rPr lang="ru-RU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– </a:t>
            </a:r>
            <a:r>
              <a:rPr lang="ru-RU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неркәсіптік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німнің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нықтамалық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іктеуіші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 </a:t>
            </a:r>
            <a:endParaRPr lang="ru-RU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КУ</a:t>
            </a:r>
            <a:r>
              <a:rPr lang="ru-RU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– </a:t>
            </a:r>
            <a:r>
              <a:rPr lang="ru-RU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меттердің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нықтамалық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іктеуіші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 </a:t>
            </a:r>
            <a:endParaRPr lang="ru-RU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КПСХ</a:t>
            </a:r>
            <a:r>
              <a:rPr lang="ru-RU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– </a:t>
            </a:r>
            <a:r>
              <a:rPr lang="ru-RU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уыл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ман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лық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аруашылығы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німдерінің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нықтамалық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іктеуіші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 </a:t>
            </a:r>
            <a:endParaRPr lang="ru-RU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КУВТ</a:t>
            </a:r>
            <a:r>
              <a:rPr lang="ru-RU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– </a:t>
            </a:r>
            <a:r>
              <a:rPr lang="ru-RU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Ішкі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уда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меттерінің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нықтамалық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іктеуіші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ru-RU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4" name="Правая фигурная скобка 73"/>
          <p:cNvSpPr/>
          <p:nvPr/>
        </p:nvSpPr>
        <p:spPr>
          <a:xfrm rot="16200000">
            <a:off x="5921122" y="-3816965"/>
            <a:ext cx="205020" cy="10261484"/>
          </a:xfrm>
          <a:prstGeom prst="righ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75" name="Таблица 7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3108419"/>
              </p:ext>
            </p:extLst>
          </p:nvPr>
        </p:nvGraphicFramePr>
        <p:xfrm>
          <a:off x="1" y="4825831"/>
          <a:ext cx="12191999" cy="19460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4281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12406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12512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105706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21111</a:t>
                      </a: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- 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аңа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невматикалық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езеңке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шиналар</a:t>
                      </a:r>
                      <a:endParaRPr kumimoji="0" lang="ru-RU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21111</a:t>
                      </a:r>
                      <a:r>
                        <a:rPr kumimoji="0" lang="ru-RU" sz="2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  <a:r>
                        <a:rPr kumimoji="0" lang="ru-RU" sz="2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0</a:t>
                      </a: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- 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еңіл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втомобильдерге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рналған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аңа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невматикалық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езеңке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шиналар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21111.</a:t>
                      </a:r>
                      <a:r>
                        <a:rPr kumimoji="0" lang="ru-RU" sz="2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0</a:t>
                      </a:r>
                      <a:r>
                        <a:rPr kumimoji="0" lang="ru-RU" sz="2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  <a:r>
                        <a:rPr kumimoji="0" lang="ru-RU" sz="2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49536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00031</a:t>
                      </a:r>
                      <a:endParaRPr kumimoji="0" lang="ru-RU" sz="2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49536">
                            <a:lumMod val="75000"/>
                          </a:srgb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еңіл</a:t>
                      </a:r>
                      <a:r>
                        <a:rPr kumimoji="0" lang="ru-RU" sz="14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kumimoji="0" lang="ru-RU" sz="1400" b="0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втомобильге</a:t>
                      </a:r>
                      <a:r>
                        <a:rPr kumimoji="0" lang="ru-RU" sz="14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kumimoji="0" lang="ru-RU" sz="1400" b="0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рналған</a:t>
                      </a:r>
                      <a:r>
                        <a:rPr kumimoji="0" lang="ru-RU" sz="14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шина</a:t>
                      </a:r>
                      <a:r>
                        <a:rPr kumimoji="0" lang="ru-RU" sz="14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37028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</a:t>
                      </a:r>
                      <a:r>
                        <a:rPr kumimoji="0" lang="ru-RU" sz="1400" b="0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37028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ысқы</a:t>
                      </a:r>
                      <a:r>
                        <a:rPr kumimoji="0" lang="ru-RU" sz="14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37028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</a:t>
                      </a:r>
                      <a:r>
                        <a:rPr kumimoji="0" lang="ru-RU" sz="1400" b="0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37028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адиалды</a:t>
                      </a:r>
                      <a:r>
                        <a:rPr kumimoji="0" lang="ru-RU" sz="14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37028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</a:t>
                      </a:r>
                      <a:r>
                        <a:rPr kumimoji="0" lang="ru-RU" sz="1400" b="0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37028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шеңбер</a:t>
                      </a:r>
                      <a:r>
                        <a:rPr kumimoji="0" lang="ru-RU" sz="14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37028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kumimoji="0" lang="ru-RU" sz="1400" b="0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37028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иаметрі</a:t>
                      </a:r>
                      <a:r>
                        <a:rPr kumimoji="0" lang="ru-RU" sz="14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37028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19</a:t>
                      </a:r>
                      <a:endParaRPr kumimoji="0" lang="ru-RU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37028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889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10011</a:t>
                      </a: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-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тыруға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рналған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металл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негізінен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иһаз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ақтаумен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10011.</a:t>
                      </a:r>
                      <a:r>
                        <a:rPr kumimoji="0" lang="ru-RU" sz="2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00</a:t>
                      </a:r>
                      <a:r>
                        <a:rPr kumimoji="0" lang="ru-RU" sz="1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- 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тыруға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рналған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ұмсақ</a:t>
                      </a:r>
                      <a:r>
                        <a:rPr kumimoji="0" 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иһаз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металл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ақтаумен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10011.</a:t>
                      </a:r>
                      <a:r>
                        <a:rPr kumimoji="0" lang="ru-RU" sz="2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00</a:t>
                      </a:r>
                      <a:r>
                        <a:rPr kumimoji="0" lang="ru-RU" sz="2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  <a:r>
                        <a:rPr kumimoji="0" lang="ru-RU" sz="2000" b="1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49536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00000</a:t>
                      </a:r>
                      <a:r>
                        <a:rPr kumimoji="0" lang="ru-RU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еңсе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өлмесінен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сқа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рындық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талл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ақтау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ылғарыдан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асалған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өсеніш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ұмсақ</a:t>
                      </a:r>
                      <a:endParaRPr kumimoji="0" lang="ru-RU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76" name="TextBox 75"/>
          <p:cNvSpPr txBox="1"/>
          <p:nvPr/>
        </p:nvSpPr>
        <p:spPr>
          <a:xfrm>
            <a:off x="4806792" y="807684"/>
            <a:ext cx="2433680" cy="458757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b="1" dirty="0" smtClean="0">
                <a:solidFill>
                  <a:srgbClr val="049536">
                    <a:lumMod val="7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С ТРУ – 15 </a:t>
            </a:r>
            <a:r>
              <a:rPr lang="ru-RU" b="1" dirty="0" err="1" smtClean="0">
                <a:solidFill>
                  <a:srgbClr val="049536">
                    <a:lumMod val="7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лгі</a:t>
            </a:r>
            <a:endParaRPr lang="ru-RU" sz="1600" b="1" i="1" dirty="0" smtClean="0">
              <a:solidFill>
                <a:srgbClr val="049536">
                  <a:lumMod val="75000"/>
                </a:srgb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7" name="Правая фигурная скобка 76"/>
          <p:cNvSpPr/>
          <p:nvPr/>
        </p:nvSpPr>
        <p:spPr>
          <a:xfrm rot="10800000">
            <a:off x="1464096" y="1544268"/>
            <a:ext cx="330186" cy="1153968"/>
          </a:xfrm>
          <a:prstGeom prst="righ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3303831" y="2846875"/>
            <a:ext cx="90922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 </a:t>
            </a:r>
            <a:r>
              <a:rPr lang="ru-RU" dirty="0" err="1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лгі</a:t>
            </a:r>
            <a:endParaRPr lang="ru-RU" i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76356" y="1826088"/>
            <a:ext cx="162347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ТИСТИКА БЮРОСЫНЫҢ АНЫҚТАМАЛАРЫ</a:t>
            </a:r>
            <a:endParaRPr lang="ru-RU" sz="1200" i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6431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033885" y="346455"/>
            <a:ext cx="11038779" cy="4078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5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С ТРУ ЖЕТІЛДІРУІ. ТИПТІК ТЕХНИКАЛЫҚ ЕРЕКШЕЛІК.</a:t>
            </a:r>
          </a:p>
        </p:txBody>
      </p:sp>
      <p:sp>
        <p:nvSpPr>
          <p:cNvPr id="92" name="Шеврон 91"/>
          <p:cNvSpPr/>
          <p:nvPr/>
        </p:nvSpPr>
        <p:spPr>
          <a:xfrm>
            <a:off x="3082080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РЕЕСТРЛЕР (ТПФ/ОИН)</a:t>
            </a:r>
          </a:p>
        </p:txBody>
      </p:sp>
      <p:sp>
        <p:nvSpPr>
          <p:cNvPr id="93" name="Шеврон 92"/>
          <p:cNvSpPr/>
          <p:nvPr/>
        </p:nvSpPr>
        <p:spPr>
          <a:xfrm>
            <a:off x="6090212" y="43570"/>
            <a:ext cx="3024000" cy="180000"/>
          </a:xfrm>
          <a:prstGeom prst="chevron">
            <a:avLst>
              <a:gd name="adj" fmla="val 46736"/>
            </a:avLst>
          </a:prstGeom>
          <a:solidFill>
            <a:srgbClr val="D9D9D9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. ПКО</a:t>
            </a:r>
          </a:p>
        </p:txBody>
      </p:sp>
      <p:sp>
        <p:nvSpPr>
          <p:cNvPr id="94" name="Шеврон 93"/>
          <p:cNvSpPr/>
          <p:nvPr/>
        </p:nvSpPr>
        <p:spPr>
          <a:xfrm>
            <a:off x="9095936" y="43570"/>
            <a:ext cx="3024000" cy="180000"/>
          </a:xfrm>
          <a:prstGeom prst="chevron">
            <a:avLst>
              <a:gd name="adj" fmla="val 46736"/>
            </a:avLst>
          </a:prstGeom>
          <a:solidFill>
            <a:srgbClr val="17335D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. ЕНС ТРУ</a:t>
            </a:r>
          </a:p>
        </p:txBody>
      </p:sp>
      <p:sp>
        <p:nvSpPr>
          <p:cNvPr id="95" name="Пятиугольник 94"/>
          <p:cNvSpPr/>
          <p:nvPr/>
        </p:nvSpPr>
        <p:spPr>
          <a:xfrm>
            <a:off x="76356" y="47575"/>
            <a:ext cx="3024000" cy="18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kk-KZ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</a:t>
            </a:r>
            <a:r>
              <a:rPr lang="ru-RU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ФТЕЙК-КЕЛІСІМШАРТТАР</a:t>
            </a:r>
            <a:endParaRPr lang="ru-RU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255235" y="926998"/>
            <a:ext cx="117535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ПСЫРЫС БЕРУШІНІҢ САТЫП АЛЫНАТЫН ТАУАРДЫҢ ҚАЖЕТТІ СИПАТТАМАЛАРЫН ТАҢДАУЫ</a:t>
            </a:r>
          </a:p>
        </p:txBody>
      </p:sp>
      <p:sp>
        <p:nvSpPr>
          <p:cNvPr id="38" name="任意多边形 70"/>
          <p:cNvSpPr>
            <a:spLocks/>
          </p:cNvSpPr>
          <p:nvPr/>
        </p:nvSpPr>
        <p:spPr bwMode="auto">
          <a:xfrm rot="5400000">
            <a:off x="64189" y="1685987"/>
            <a:ext cx="2273437" cy="1760195"/>
          </a:xfrm>
          <a:custGeom>
            <a:avLst/>
            <a:gdLst>
              <a:gd name="connsiteX0" fmla="*/ 135606 w 5137844"/>
              <a:gd name="connsiteY0" fmla="*/ 1261974 h 2523948"/>
              <a:gd name="connsiteX1" fmla="*/ 162467 w 5137844"/>
              <a:gd name="connsiteY1" fmla="*/ 1378906 h 2523948"/>
              <a:gd name="connsiteX2" fmla="*/ 690261 w 5137844"/>
              <a:gd name="connsiteY2" fmla="*/ 2293610 h 2523948"/>
              <a:gd name="connsiteX3" fmla="*/ 893838 w 5137844"/>
              <a:gd name="connsiteY3" fmla="*/ 2410541 h 2523948"/>
              <a:gd name="connsiteX4" fmla="*/ 1084338 w 5137844"/>
              <a:gd name="connsiteY4" fmla="*/ 2410541 h 2523948"/>
              <a:gd name="connsiteX5" fmla="*/ 1934122 w 5137844"/>
              <a:gd name="connsiteY5" fmla="*/ 2410541 h 2523948"/>
              <a:gd name="connsiteX6" fmla="*/ 1949425 w 5137844"/>
              <a:gd name="connsiteY6" fmla="*/ 2410541 h 2523948"/>
              <a:gd name="connsiteX7" fmla="*/ 1956221 w 5137844"/>
              <a:gd name="connsiteY7" fmla="*/ 2410541 h 2523948"/>
              <a:gd name="connsiteX8" fmla="*/ 2124622 w 5137844"/>
              <a:gd name="connsiteY8" fmla="*/ 2410541 h 2523948"/>
              <a:gd name="connsiteX9" fmla="*/ 2139925 w 5137844"/>
              <a:gd name="connsiteY9" fmla="*/ 2410541 h 2523948"/>
              <a:gd name="connsiteX10" fmla="*/ 2146721 w 5137844"/>
              <a:gd name="connsiteY10" fmla="*/ 2410541 h 2523948"/>
              <a:gd name="connsiteX11" fmla="*/ 2989710 w 5137844"/>
              <a:gd name="connsiteY11" fmla="*/ 2410541 h 2523948"/>
              <a:gd name="connsiteX12" fmla="*/ 2996506 w 5137844"/>
              <a:gd name="connsiteY12" fmla="*/ 2410541 h 2523948"/>
              <a:gd name="connsiteX13" fmla="*/ 3011809 w 5137844"/>
              <a:gd name="connsiteY13" fmla="*/ 2410541 h 2523948"/>
              <a:gd name="connsiteX14" fmla="*/ 3180210 w 5137844"/>
              <a:gd name="connsiteY14" fmla="*/ 2410541 h 2523948"/>
              <a:gd name="connsiteX15" fmla="*/ 3187006 w 5137844"/>
              <a:gd name="connsiteY15" fmla="*/ 2410541 h 2523948"/>
              <a:gd name="connsiteX16" fmla="*/ 3202309 w 5137844"/>
              <a:gd name="connsiteY16" fmla="*/ 2410541 h 2523948"/>
              <a:gd name="connsiteX17" fmla="*/ 4052093 w 5137844"/>
              <a:gd name="connsiteY17" fmla="*/ 2410541 h 2523948"/>
              <a:gd name="connsiteX18" fmla="*/ 4242593 w 5137844"/>
              <a:gd name="connsiteY18" fmla="*/ 2410541 h 2523948"/>
              <a:gd name="connsiteX19" fmla="*/ 4446171 w 5137844"/>
              <a:gd name="connsiteY19" fmla="*/ 2293610 h 2523948"/>
              <a:gd name="connsiteX20" fmla="*/ 4973965 w 5137844"/>
              <a:gd name="connsiteY20" fmla="*/ 1378906 h 2523948"/>
              <a:gd name="connsiteX21" fmla="*/ 4973965 w 5137844"/>
              <a:gd name="connsiteY21" fmla="*/ 1145043 h 2523948"/>
              <a:gd name="connsiteX22" fmla="*/ 4446171 w 5137844"/>
              <a:gd name="connsiteY22" fmla="*/ 230339 h 2523948"/>
              <a:gd name="connsiteX23" fmla="*/ 4242593 w 5137844"/>
              <a:gd name="connsiteY23" fmla="*/ 113407 h 2523948"/>
              <a:gd name="connsiteX24" fmla="*/ 4133871 w 5137844"/>
              <a:gd name="connsiteY24" fmla="*/ 113407 h 2523948"/>
              <a:gd name="connsiteX25" fmla="*/ 4052093 w 5137844"/>
              <a:gd name="connsiteY25" fmla="*/ 113407 h 2523948"/>
              <a:gd name="connsiteX26" fmla="*/ 4050394 w 5137844"/>
              <a:gd name="connsiteY26" fmla="*/ 113407 h 2523948"/>
              <a:gd name="connsiteX27" fmla="*/ 4038503 w 5137844"/>
              <a:gd name="connsiteY27" fmla="*/ 113407 h 2523948"/>
              <a:gd name="connsiteX28" fmla="*/ 4030245 w 5137844"/>
              <a:gd name="connsiteY28" fmla="*/ 113407 h 2523948"/>
              <a:gd name="connsiteX29" fmla="*/ 4006226 w 5137844"/>
              <a:gd name="connsiteY29" fmla="*/ 113407 h 2523948"/>
              <a:gd name="connsiteX30" fmla="*/ 3943371 w 5137844"/>
              <a:gd name="connsiteY30" fmla="*/ 113407 h 2523948"/>
              <a:gd name="connsiteX31" fmla="*/ 3875656 w 5137844"/>
              <a:gd name="connsiteY31" fmla="*/ 113407 h 2523948"/>
              <a:gd name="connsiteX32" fmla="*/ 3839745 w 5137844"/>
              <a:gd name="connsiteY32" fmla="*/ 113407 h 2523948"/>
              <a:gd name="connsiteX33" fmla="*/ 3776065 w 5137844"/>
              <a:gd name="connsiteY33" fmla="*/ 113407 h 2523948"/>
              <a:gd name="connsiteX34" fmla="*/ 3685156 w 5137844"/>
              <a:gd name="connsiteY34" fmla="*/ 113407 h 2523948"/>
              <a:gd name="connsiteX35" fmla="*/ 3659911 w 5137844"/>
              <a:gd name="connsiteY35" fmla="*/ 113407 h 2523948"/>
              <a:gd name="connsiteX36" fmla="*/ 3585565 w 5137844"/>
              <a:gd name="connsiteY36" fmla="*/ 113407 h 2523948"/>
              <a:gd name="connsiteX37" fmla="*/ 3525919 w 5137844"/>
              <a:gd name="connsiteY37" fmla="*/ 113407 h 2523948"/>
              <a:gd name="connsiteX38" fmla="*/ 3469411 w 5137844"/>
              <a:gd name="connsiteY38" fmla="*/ 113407 h 2523948"/>
              <a:gd name="connsiteX39" fmla="*/ 3372816 w 5137844"/>
              <a:gd name="connsiteY39" fmla="*/ 113407 h 2523948"/>
              <a:gd name="connsiteX40" fmla="*/ 3335419 w 5137844"/>
              <a:gd name="connsiteY40" fmla="*/ 113407 h 2523948"/>
              <a:gd name="connsiteX41" fmla="*/ 3202309 w 5137844"/>
              <a:gd name="connsiteY41" fmla="*/ 113407 h 2523948"/>
              <a:gd name="connsiteX42" fmla="*/ 3200246 w 5137844"/>
              <a:gd name="connsiteY42" fmla="*/ 113407 h 2523948"/>
              <a:gd name="connsiteX43" fmla="*/ 3187006 w 5137844"/>
              <a:gd name="connsiteY43" fmla="*/ 113407 h 2523948"/>
              <a:gd name="connsiteX44" fmla="*/ 3185815 w 5137844"/>
              <a:gd name="connsiteY44" fmla="*/ 113407 h 2523948"/>
              <a:gd name="connsiteX45" fmla="*/ 3182316 w 5137844"/>
              <a:gd name="connsiteY45" fmla="*/ 113407 h 2523948"/>
              <a:gd name="connsiteX46" fmla="*/ 3180210 w 5137844"/>
              <a:gd name="connsiteY46" fmla="*/ 113407 h 2523948"/>
              <a:gd name="connsiteX47" fmla="*/ 3163716 w 5137844"/>
              <a:gd name="connsiteY47" fmla="*/ 113407 h 2523948"/>
              <a:gd name="connsiteX48" fmla="*/ 3146643 w 5137844"/>
              <a:gd name="connsiteY48" fmla="*/ 113407 h 2523948"/>
              <a:gd name="connsiteX49" fmla="*/ 3124544 w 5137844"/>
              <a:gd name="connsiteY49" fmla="*/ 113407 h 2523948"/>
              <a:gd name="connsiteX50" fmla="*/ 3070360 w 5137844"/>
              <a:gd name="connsiteY50" fmla="*/ 113407 h 2523948"/>
              <a:gd name="connsiteX51" fmla="*/ 3048262 w 5137844"/>
              <a:gd name="connsiteY51" fmla="*/ 113407 h 2523948"/>
              <a:gd name="connsiteX52" fmla="*/ 3014437 w 5137844"/>
              <a:gd name="connsiteY52" fmla="*/ 113407 h 2523948"/>
              <a:gd name="connsiteX53" fmla="*/ 3011809 w 5137844"/>
              <a:gd name="connsiteY53" fmla="*/ 113407 h 2523948"/>
              <a:gd name="connsiteX54" fmla="*/ 3009746 w 5137844"/>
              <a:gd name="connsiteY54" fmla="*/ 113407 h 2523948"/>
              <a:gd name="connsiteX55" fmla="*/ 2996506 w 5137844"/>
              <a:gd name="connsiteY55" fmla="*/ 113407 h 2523948"/>
              <a:gd name="connsiteX56" fmla="*/ 2995315 w 5137844"/>
              <a:gd name="connsiteY56" fmla="*/ 113407 h 2523948"/>
              <a:gd name="connsiteX57" fmla="*/ 2992338 w 5137844"/>
              <a:gd name="connsiteY57" fmla="*/ 113407 h 2523948"/>
              <a:gd name="connsiteX58" fmla="*/ 2989710 w 5137844"/>
              <a:gd name="connsiteY58" fmla="*/ 113407 h 2523948"/>
              <a:gd name="connsiteX59" fmla="*/ 2987648 w 5137844"/>
              <a:gd name="connsiteY59" fmla="*/ 113407 h 2523948"/>
              <a:gd name="connsiteX60" fmla="*/ 2973216 w 5137844"/>
              <a:gd name="connsiteY60" fmla="*/ 113407 h 2523948"/>
              <a:gd name="connsiteX61" fmla="*/ 2956143 w 5137844"/>
              <a:gd name="connsiteY61" fmla="*/ 113407 h 2523948"/>
              <a:gd name="connsiteX62" fmla="*/ 2944597 w 5137844"/>
              <a:gd name="connsiteY62" fmla="*/ 113407 h 2523948"/>
              <a:gd name="connsiteX63" fmla="*/ 2934044 w 5137844"/>
              <a:gd name="connsiteY63" fmla="*/ 113407 h 2523948"/>
              <a:gd name="connsiteX64" fmla="*/ 2922498 w 5137844"/>
              <a:gd name="connsiteY64" fmla="*/ 113407 h 2523948"/>
              <a:gd name="connsiteX65" fmla="*/ 2879860 w 5137844"/>
              <a:gd name="connsiteY65" fmla="*/ 113407 h 2523948"/>
              <a:gd name="connsiteX66" fmla="*/ 2859294 w 5137844"/>
              <a:gd name="connsiteY66" fmla="*/ 113407 h 2523948"/>
              <a:gd name="connsiteX67" fmla="*/ 2857762 w 5137844"/>
              <a:gd name="connsiteY67" fmla="*/ 113407 h 2523948"/>
              <a:gd name="connsiteX68" fmla="*/ 2837195 w 5137844"/>
              <a:gd name="connsiteY68" fmla="*/ 113407 h 2523948"/>
              <a:gd name="connsiteX69" fmla="*/ 2823937 w 5137844"/>
              <a:gd name="connsiteY69" fmla="*/ 113407 h 2523948"/>
              <a:gd name="connsiteX70" fmla="*/ 2801838 w 5137844"/>
              <a:gd name="connsiteY70" fmla="*/ 113407 h 2523948"/>
              <a:gd name="connsiteX71" fmla="*/ 2756982 w 5137844"/>
              <a:gd name="connsiteY71" fmla="*/ 113407 h 2523948"/>
              <a:gd name="connsiteX72" fmla="*/ 2754097 w 5137844"/>
              <a:gd name="connsiteY72" fmla="*/ 113407 h 2523948"/>
              <a:gd name="connsiteX73" fmla="*/ 2734884 w 5137844"/>
              <a:gd name="connsiteY73" fmla="*/ 113407 h 2523948"/>
              <a:gd name="connsiteX74" fmla="*/ 2731998 w 5137844"/>
              <a:gd name="connsiteY74" fmla="*/ 113407 h 2523948"/>
              <a:gd name="connsiteX75" fmla="*/ 2668794 w 5137844"/>
              <a:gd name="connsiteY75" fmla="*/ 113407 h 2523948"/>
              <a:gd name="connsiteX76" fmla="*/ 2646695 w 5137844"/>
              <a:gd name="connsiteY76" fmla="*/ 113407 h 2523948"/>
              <a:gd name="connsiteX77" fmla="*/ 2636115 w 5137844"/>
              <a:gd name="connsiteY77" fmla="*/ 113407 h 2523948"/>
              <a:gd name="connsiteX78" fmla="*/ 2614017 w 5137844"/>
              <a:gd name="connsiteY78" fmla="*/ 113407 h 2523948"/>
              <a:gd name="connsiteX79" fmla="*/ 2566482 w 5137844"/>
              <a:gd name="connsiteY79" fmla="*/ 113407 h 2523948"/>
              <a:gd name="connsiteX80" fmla="*/ 2544384 w 5137844"/>
              <a:gd name="connsiteY80" fmla="*/ 113407 h 2523948"/>
              <a:gd name="connsiteX81" fmla="*/ 2495147 w 5137844"/>
              <a:gd name="connsiteY81" fmla="*/ 113407 h 2523948"/>
              <a:gd name="connsiteX82" fmla="*/ 2473049 w 5137844"/>
              <a:gd name="connsiteY82" fmla="*/ 113407 h 2523948"/>
              <a:gd name="connsiteX83" fmla="*/ 2445615 w 5137844"/>
              <a:gd name="connsiteY83" fmla="*/ 113407 h 2523948"/>
              <a:gd name="connsiteX84" fmla="*/ 2423517 w 5137844"/>
              <a:gd name="connsiteY84" fmla="*/ 113407 h 2523948"/>
              <a:gd name="connsiteX85" fmla="*/ 2332532 w 5137844"/>
              <a:gd name="connsiteY85" fmla="*/ 113407 h 2523948"/>
              <a:gd name="connsiteX86" fmla="*/ 2310433 w 5137844"/>
              <a:gd name="connsiteY86" fmla="*/ 113407 h 2523948"/>
              <a:gd name="connsiteX87" fmla="*/ 2304647 w 5137844"/>
              <a:gd name="connsiteY87" fmla="*/ 113407 h 2523948"/>
              <a:gd name="connsiteX88" fmla="*/ 2282549 w 5137844"/>
              <a:gd name="connsiteY88" fmla="*/ 113407 h 2523948"/>
              <a:gd name="connsiteX89" fmla="*/ 2146721 w 5137844"/>
              <a:gd name="connsiteY89" fmla="*/ 113407 h 2523948"/>
              <a:gd name="connsiteX90" fmla="*/ 2142032 w 5137844"/>
              <a:gd name="connsiteY90" fmla="*/ 113407 h 2523948"/>
              <a:gd name="connsiteX91" fmla="*/ 2139925 w 5137844"/>
              <a:gd name="connsiteY91" fmla="*/ 113407 h 2523948"/>
              <a:gd name="connsiteX92" fmla="*/ 2137864 w 5137844"/>
              <a:gd name="connsiteY92" fmla="*/ 113407 h 2523948"/>
              <a:gd name="connsiteX93" fmla="*/ 2124622 w 5137844"/>
              <a:gd name="connsiteY93" fmla="*/ 113407 h 2523948"/>
              <a:gd name="connsiteX94" fmla="*/ 2123432 w 5137844"/>
              <a:gd name="connsiteY94" fmla="*/ 113407 h 2523948"/>
              <a:gd name="connsiteX95" fmla="*/ 2119933 w 5137844"/>
              <a:gd name="connsiteY95" fmla="*/ 113407 h 2523948"/>
              <a:gd name="connsiteX96" fmla="*/ 2097049 w 5137844"/>
              <a:gd name="connsiteY96" fmla="*/ 113407 h 2523948"/>
              <a:gd name="connsiteX97" fmla="*/ 1981658 w 5137844"/>
              <a:gd name="connsiteY97" fmla="*/ 113407 h 2523948"/>
              <a:gd name="connsiteX98" fmla="*/ 1956221 w 5137844"/>
              <a:gd name="connsiteY98" fmla="*/ 113407 h 2523948"/>
              <a:gd name="connsiteX99" fmla="*/ 1949425 w 5137844"/>
              <a:gd name="connsiteY99" fmla="*/ 113407 h 2523948"/>
              <a:gd name="connsiteX100" fmla="*/ 1947364 w 5137844"/>
              <a:gd name="connsiteY100" fmla="*/ 113407 h 2523948"/>
              <a:gd name="connsiteX101" fmla="*/ 1934122 w 5137844"/>
              <a:gd name="connsiteY101" fmla="*/ 113407 h 2523948"/>
              <a:gd name="connsiteX102" fmla="*/ 1932932 w 5137844"/>
              <a:gd name="connsiteY102" fmla="*/ 113407 h 2523948"/>
              <a:gd name="connsiteX103" fmla="*/ 1906549 w 5137844"/>
              <a:gd name="connsiteY103" fmla="*/ 113407 h 2523948"/>
              <a:gd name="connsiteX104" fmla="*/ 1882214 w 5137844"/>
              <a:gd name="connsiteY104" fmla="*/ 113407 h 2523948"/>
              <a:gd name="connsiteX105" fmla="*/ 1861030 w 5137844"/>
              <a:gd name="connsiteY105" fmla="*/ 113407 h 2523948"/>
              <a:gd name="connsiteX106" fmla="*/ 1791158 w 5137844"/>
              <a:gd name="connsiteY106" fmla="*/ 113407 h 2523948"/>
              <a:gd name="connsiteX107" fmla="*/ 1747978 w 5137844"/>
              <a:gd name="connsiteY107" fmla="*/ 113407 h 2523948"/>
              <a:gd name="connsiteX108" fmla="*/ 1691714 w 5137844"/>
              <a:gd name="connsiteY108" fmla="*/ 113407 h 2523948"/>
              <a:gd name="connsiteX109" fmla="*/ 1573733 w 5137844"/>
              <a:gd name="connsiteY109" fmla="*/ 113407 h 2523948"/>
              <a:gd name="connsiteX110" fmla="*/ 1557478 w 5137844"/>
              <a:gd name="connsiteY110" fmla="*/ 113407 h 2523948"/>
              <a:gd name="connsiteX111" fmla="*/ 1383233 w 5137844"/>
              <a:gd name="connsiteY111" fmla="*/ 113407 h 2523948"/>
              <a:gd name="connsiteX112" fmla="*/ 1354259 w 5137844"/>
              <a:gd name="connsiteY112" fmla="*/ 113407 h 2523948"/>
              <a:gd name="connsiteX113" fmla="*/ 1163759 w 5137844"/>
              <a:gd name="connsiteY113" fmla="*/ 113407 h 2523948"/>
              <a:gd name="connsiteX114" fmla="*/ 1084338 w 5137844"/>
              <a:gd name="connsiteY114" fmla="*/ 113407 h 2523948"/>
              <a:gd name="connsiteX115" fmla="*/ 893838 w 5137844"/>
              <a:gd name="connsiteY115" fmla="*/ 113407 h 2523948"/>
              <a:gd name="connsiteX116" fmla="*/ 690261 w 5137844"/>
              <a:gd name="connsiteY116" fmla="*/ 230339 h 2523948"/>
              <a:gd name="connsiteX117" fmla="*/ 162467 w 5137844"/>
              <a:gd name="connsiteY117" fmla="*/ 1145043 h 2523948"/>
              <a:gd name="connsiteX118" fmla="*/ 135606 w 5137844"/>
              <a:gd name="connsiteY118" fmla="*/ 1261974 h 2523948"/>
              <a:gd name="connsiteX119" fmla="*/ 0 w 5137844"/>
              <a:gd name="connsiteY119" fmla="*/ 1261974 h 2523948"/>
              <a:gd name="connsiteX120" fmla="*/ 29513 w 5137844"/>
              <a:gd name="connsiteY120" fmla="*/ 1133497 h 2523948"/>
              <a:gd name="connsiteX121" fmla="*/ 609420 w 5137844"/>
              <a:gd name="connsiteY121" fmla="*/ 128477 h 2523948"/>
              <a:gd name="connsiteX122" fmla="*/ 833098 w 5137844"/>
              <a:gd name="connsiteY122" fmla="*/ 0 h 2523948"/>
              <a:gd name="connsiteX123" fmla="*/ 1974790 w 5137844"/>
              <a:gd name="connsiteY123" fmla="*/ 0 h 2523948"/>
              <a:gd name="connsiteX124" fmla="*/ 1976098 w 5137844"/>
              <a:gd name="connsiteY124" fmla="*/ 0 h 2523948"/>
              <a:gd name="connsiteX125" fmla="*/ 1990647 w 5137844"/>
              <a:gd name="connsiteY125" fmla="*/ 0 h 2523948"/>
              <a:gd name="connsiteX126" fmla="*/ 1992912 w 5137844"/>
              <a:gd name="connsiteY126" fmla="*/ 0 h 2523948"/>
              <a:gd name="connsiteX127" fmla="*/ 2000379 w 5137844"/>
              <a:gd name="connsiteY127" fmla="*/ 0 h 2523948"/>
              <a:gd name="connsiteX128" fmla="*/ 2180255 w 5137844"/>
              <a:gd name="connsiteY128" fmla="*/ 0 h 2523948"/>
              <a:gd name="connsiteX129" fmla="*/ 2204536 w 5137844"/>
              <a:gd name="connsiteY129" fmla="*/ 0 h 2523948"/>
              <a:gd name="connsiteX130" fmla="*/ 2358928 w 5137844"/>
              <a:gd name="connsiteY130" fmla="*/ 0 h 2523948"/>
              <a:gd name="connsiteX131" fmla="*/ 2383208 w 5137844"/>
              <a:gd name="connsiteY131" fmla="*/ 0 h 2523948"/>
              <a:gd name="connsiteX132" fmla="*/ 2513815 w 5137844"/>
              <a:gd name="connsiteY132" fmla="*/ 0 h 2523948"/>
              <a:gd name="connsiteX133" fmla="*/ 2538095 w 5137844"/>
              <a:gd name="connsiteY133" fmla="*/ 0 h 2523948"/>
              <a:gd name="connsiteX134" fmla="*/ 2646616 w 5137844"/>
              <a:gd name="connsiteY134" fmla="*/ 0 h 2523948"/>
              <a:gd name="connsiteX135" fmla="*/ 2670896 w 5137844"/>
              <a:gd name="connsiteY135" fmla="*/ 0 h 2523948"/>
              <a:gd name="connsiteX136" fmla="*/ 2759029 w 5137844"/>
              <a:gd name="connsiteY136" fmla="*/ 0 h 2523948"/>
              <a:gd name="connsiteX137" fmla="*/ 2783310 w 5137844"/>
              <a:gd name="connsiteY137" fmla="*/ 0 h 2523948"/>
              <a:gd name="connsiteX138" fmla="*/ 2852754 w 5137844"/>
              <a:gd name="connsiteY138" fmla="*/ 0 h 2523948"/>
              <a:gd name="connsiteX139" fmla="*/ 2877035 w 5137844"/>
              <a:gd name="connsiteY139" fmla="*/ 0 h 2523948"/>
              <a:gd name="connsiteX140" fmla="*/ 2929490 w 5137844"/>
              <a:gd name="connsiteY140" fmla="*/ 0 h 2523948"/>
              <a:gd name="connsiteX141" fmla="*/ 2953771 w 5137844"/>
              <a:gd name="connsiteY141" fmla="*/ 0 h 2523948"/>
              <a:gd name="connsiteX142" fmla="*/ 2990936 w 5137844"/>
              <a:gd name="connsiteY142" fmla="*/ 0 h 2523948"/>
              <a:gd name="connsiteX143" fmla="*/ 3015216 w 5137844"/>
              <a:gd name="connsiteY143" fmla="*/ 0 h 2523948"/>
              <a:gd name="connsiteX144" fmla="*/ 3074750 w 5137844"/>
              <a:gd name="connsiteY144" fmla="*/ 0 h 2523948"/>
              <a:gd name="connsiteX145" fmla="*/ 3099031 w 5137844"/>
              <a:gd name="connsiteY145" fmla="*/ 0 h 2523948"/>
              <a:gd name="connsiteX146" fmla="*/ 3117790 w 5137844"/>
              <a:gd name="connsiteY146" fmla="*/ 0 h 2523948"/>
              <a:gd name="connsiteX147" fmla="*/ 3135912 w 5137844"/>
              <a:gd name="connsiteY147" fmla="*/ 0 h 2523948"/>
              <a:gd name="connsiteX148" fmla="*/ 3142071 w 5137844"/>
              <a:gd name="connsiteY148" fmla="*/ 0 h 2523948"/>
              <a:gd name="connsiteX149" fmla="*/ 3143379 w 5137844"/>
              <a:gd name="connsiteY149" fmla="*/ 0 h 2523948"/>
              <a:gd name="connsiteX150" fmla="*/ 3157927 w 5137844"/>
              <a:gd name="connsiteY150" fmla="*/ 0 h 2523948"/>
              <a:gd name="connsiteX151" fmla="*/ 3160193 w 5137844"/>
              <a:gd name="connsiteY151" fmla="*/ 0 h 2523948"/>
              <a:gd name="connsiteX152" fmla="*/ 3347536 w 5137844"/>
              <a:gd name="connsiteY152" fmla="*/ 0 h 2523948"/>
              <a:gd name="connsiteX153" fmla="*/ 4303193 w 5137844"/>
              <a:gd name="connsiteY153" fmla="*/ 0 h 2523948"/>
              <a:gd name="connsiteX154" fmla="*/ 4526872 w 5137844"/>
              <a:gd name="connsiteY154" fmla="*/ 128477 h 2523948"/>
              <a:gd name="connsiteX155" fmla="*/ 5106779 w 5137844"/>
              <a:gd name="connsiteY155" fmla="*/ 1133497 h 2523948"/>
              <a:gd name="connsiteX156" fmla="*/ 5106779 w 5137844"/>
              <a:gd name="connsiteY156" fmla="*/ 1390451 h 2523948"/>
              <a:gd name="connsiteX157" fmla="*/ 4526872 w 5137844"/>
              <a:gd name="connsiteY157" fmla="*/ 2395471 h 2523948"/>
              <a:gd name="connsiteX158" fmla="*/ 4303193 w 5137844"/>
              <a:gd name="connsiteY158" fmla="*/ 2523948 h 2523948"/>
              <a:gd name="connsiteX159" fmla="*/ 3160193 w 5137844"/>
              <a:gd name="connsiteY159" fmla="*/ 2523948 h 2523948"/>
              <a:gd name="connsiteX160" fmla="*/ 3143379 w 5137844"/>
              <a:gd name="connsiteY160" fmla="*/ 2523948 h 2523948"/>
              <a:gd name="connsiteX161" fmla="*/ 3135912 w 5137844"/>
              <a:gd name="connsiteY161" fmla="*/ 2523948 h 2523948"/>
              <a:gd name="connsiteX162" fmla="*/ 2000379 w 5137844"/>
              <a:gd name="connsiteY162" fmla="*/ 2523948 h 2523948"/>
              <a:gd name="connsiteX163" fmla="*/ 1992912 w 5137844"/>
              <a:gd name="connsiteY163" fmla="*/ 2523948 h 2523948"/>
              <a:gd name="connsiteX164" fmla="*/ 1976098 w 5137844"/>
              <a:gd name="connsiteY164" fmla="*/ 2523948 h 2523948"/>
              <a:gd name="connsiteX165" fmla="*/ 833098 w 5137844"/>
              <a:gd name="connsiteY165" fmla="*/ 2523948 h 2523948"/>
              <a:gd name="connsiteX166" fmla="*/ 609420 w 5137844"/>
              <a:gd name="connsiteY166" fmla="*/ 2395471 h 2523948"/>
              <a:gd name="connsiteX167" fmla="*/ 29513 w 5137844"/>
              <a:gd name="connsiteY167" fmla="*/ 1390451 h 2523948"/>
              <a:gd name="connsiteX168" fmla="*/ 0 w 5137844"/>
              <a:gd name="connsiteY168" fmla="*/ 1261974 h 2523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5137844" h="2523948">
                <a:moveTo>
                  <a:pt x="135606" y="1261974"/>
                </a:moveTo>
                <a:cubicBezTo>
                  <a:pt x="135606" y="1304409"/>
                  <a:pt x="144559" y="1346843"/>
                  <a:pt x="162467" y="1378906"/>
                </a:cubicBezTo>
                <a:cubicBezTo>
                  <a:pt x="162467" y="1378906"/>
                  <a:pt x="162467" y="1378906"/>
                  <a:pt x="690261" y="2293610"/>
                </a:cubicBezTo>
                <a:cubicBezTo>
                  <a:pt x="727960" y="2357733"/>
                  <a:pt x="820324" y="2410541"/>
                  <a:pt x="893838" y="2410541"/>
                </a:cubicBezTo>
                <a:lnTo>
                  <a:pt x="1084338" y="2410541"/>
                </a:lnTo>
                <a:lnTo>
                  <a:pt x="1934122" y="2410541"/>
                </a:lnTo>
                <a:lnTo>
                  <a:pt x="1949425" y="2410541"/>
                </a:lnTo>
                <a:lnTo>
                  <a:pt x="1956221" y="2410541"/>
                </a:lnTo>
                <a:lnTo>
                  <a:pt x="2124622" y="2410541"/>
                </a:lnTo>
                <a:lnTo>
                  <a:pt x="2139925" y="2410541"/>
                </a:lnTo>
                <a:lnTo>
                  <a:pt x="2146721" y="2410541"/>
                </a:lnTo>
                <a:lnTo>
                  <a:pt x="2989710" y="2410541"/>
                </a:lnTo>
                <a:lnTo>
                  <a:pt x="2996506" y="2410541"/>
                </a:lnTo>
                <a:lnTo>
                  <a:pt x="3011809" y="2410541"/>
                </a:lnTo>
                <a:lnTo>
                  <a:pt x="3180210" y="2410541"/>
                </a:lnTo>
                <a:lnTo>
                  <a:pt x="3187006" y="2410541"/>
                </a:lnTo>
                <a:lnTo>
                  <a:pt x="3202309" y="2410541"/>
                </a:lnTo>
                <a:lnTo>
                  <a:pt x="4052093" y="2410541"/>
                </a:lnTo>
                <a:lnTo>
                  <a:pt x="4242593" y="2410541"/>
                </a:lnTo>
                <a:cubicBezTo>
                  <a:pt x="4317992" y="2410541"/>
                  <a:pt x="4408471" y="2357733"/>
                  <a:pt x="4446171" y="2293610"/>
                </a:cubicBezTo>
                <a:cubicBezTo>
                  <a:pt x="4446171" y="2293610"/>
                  <a:pt x="4446171" y="2293610"/>
                  <a:pt x="4973965" y="1378906"/>
                </a:cubicBezTo>
                <a:cubicBezTo>
                  <a:pt x="5011664" y="1314782"/>
                  <a:pt x="5011664" y="1209166"/>
                  <a:pt x="4973965" y="1145043"/>
                </a:cubicBezTo>
                <a:cubicBezTo>
                  <a:pt x="4973965" y="1145043"/>
                  <a:pt x="4973965" y="1145043"/>
                  <a:pt x="4446171" y="230339"/>
                </a:cubicBezTo>
                <a:cubicBezTo>
                  <a:pt x="4408471" y="166215"/>
                  <a:pt x="4317992" y="113407"/>
                  <a:pt x="4242593" y="113407"/>
                </a:cubicBezTo>
                <a:cubicBezTo>
                  <a:pt x="4242593" y="113407"/>
                  <a:pt x="4242593" y="113407"/>
                  <a:pt x="4133871" y="113407"/>
                </a:cubicBezTo>
                <a:lnTo>
                  <a:pt x="4052093" y="113407"/>
                </a:lnTo>
                <a:lnTo>
                  <a:pt x="4050394" y="113407"/>
                </a:lnTo>
                <a:lnTo>
                  <a:pt x="4038503" y="113407"/>
                </a:lnTo>
                <a:lnTo>
                  <a:pt x="4030245" y="113407"/>
                </a:lnTo>
                <a:lnTo>
                  <a:pt x="4006226" y="113407"/>
                </a:lnTo>
                <a:lnTo>
                  <a:pt x="3943371" y="113407"/>
                </a:lnTo>
                <a:lnTo>
                  <a:pt x="3875656" y="113407"/>
                </a:lnTo>
                <a:lnTo>
                  <a:pt x="3839745" y="113407"/>
                </a:lnTo>
                <a:lnTo>
                  <a:pt x="3776065" y="113407"/>
                </a:lnTo>
                <a:lnTo>
                  <a:pt x="3685156" y="113407"/>
                </a:lnTo>
                <a:lnTo>
                  <a:pt x="3659911" y="113407"/>
                </a:lnTo>
                <a:lnTo>
                  <a:pt x="3585565" y="113407"/>
                </a:lnTo>
                <a:lnTo>
                  <a:pt x="3525919" y="113407"/>
                </a:lnTo>
                <a:lnTo>
                  <a:pt x="3469411" y="113407"/>
                </a:lnTo>
                <a:lnTo>
                  <a:pt x="3372816" y="113407"/>
                </a:lnTo>
                <a:lnTo>
                  <a:pt x="3335419" y="113407"/>
                </a:lnTo>
                <a:lnTo>
                  <a:pt x="3202309" y="113407"/>
                </a:lnTo>
                <a:lnTo>
                  <a:pt x="3200246" y="113407"/>
                </a:lnTo>
                <a:lnTo>
                  <a:pt x="3187006" y="113407"/>
                </a:lnTo>
                <a:lnTo>
                  <a:pt x="3185815" y="113407"/>
                </a:lnTo>
                <a:lnTo>
                  <a:pt x="3182316" y="113407"/>
                </a:lnTo>
                <a:lnTo>
                  <a:pt x="3180210" y="113407"/>
                </a:lnTo>
                <a:cubicBezTo>
                  <a:pt x="3180210" y="113407"/>
                  <a:pt x="3180210" y="113407"/>
                  <a:pt x="3163716" y="113407"/>
                </a:cubicBezTo>
                <a:lnTo>
                  <a:pt x="3146643" y="113407"/>
                </a:lnTo>
                <a:lnTo>
                  <a:pt x="3124544" y="113407"/>
                </a:lnTo>
                <a:lnTo>
                  <a:pt x="3070360" y="113407"/>
                </a:lnTo>
                <a:lnTo>
                  <a:pt x="3048262" y="113407"/>
                </a:lnTo>
                <a:lnTo>
                  <a:pt x="3014437" y="113407"/>
                </a:lnTo>
                <a:lnTo>
                  <a:pt x="3011809" y="113407"/>
                </a:lnTo>
                <a:lnTo>
                  <a:pt x="3009746" y="113407"/>
                </a:lnTo>
                <a:lnTo>
                  <a:pt x="2996506" y="113407"/>
                </a:lnTo>
                <a:lnTo>
                  <a:pt x="2995315" y="113407"/>
                </a:lnTo>
                <a:lnTo>
                  <a:pt x="2992338" y="113407"/>
                </a:lnTo>
                <a:lnTo>
                  <a:pt x="2989710" y="113407"/>
                </a:lnTo>
                <a:lnTo>
                  <a:pt x="2987648" y="113407"/>
                </a:lnTo>
                <a:lnTo>
                  <a:pt x="2973216" y="113407"/>
                </a:lnTo>
                <a:lnTo>
                  <a:pt x="2956143" y="113407"/>
                </a:lnTo>
                <a:lnTo>
                  <a:pt x="2944597" y="113407"/>
                </a:lnTo>
                <a:lnTo>
                  <a:pt x="2934044" y="113407"/>
                </a:lnTo>
                <a:lnTo>
                  <a:pt x="2922498" y="113407"/>
                </a:lnTo>
                <a:lnTo>
                  <a:pt x="2879860" y="113407"/>
                </a:lnTo>
                <a:lnTo>
                  <a:pt x="2859294" y="113407"/>
                </a:lnTo>
                <a:lnTo>
                  <a:pt x="2857762" y="113407"/>
                </a:lnTo>
                <a:lnTo>
                  <a:pt x="2837195" y="113407"/>
                </a:lnTo>
                <a:lnTo>
                  <a:pt x="2823937" y="113407"/>
                </a:lnTo>
                <a:lnTo>
                  <a:pt x="2801838" y="113407"/>
                </a:lnTo>
                <a:lnTo>
                  <a:pt x="2756982" y="113407"/>
                </a:lnTo>
                <a:lnTo>
                  <a:pt x="2754097" y="113407"/>
                </a:lnTo>
                <a:lnTo>
                  <a:pt x="2734884" y="113407"/>
                </a:lnTo>
                <a:lnTo>
                  <a:pt x="2731998" y="113407"/>
                </a:lnTo>
                <a:lnTo>
                  <a:pt x="2668794" y="113407"/>
                </a:lnTo>
                <a:lnTo>
                  <a:pt x="2646695" y="113407"/>
                </a:lnTo>
                <a:lnTo>
                  <a:pt x="2636115" y="113407"/>
                </a:lnTo>
                <a:lnTo>
                  <a:pt x="2614017" y="113407"/>
                </a:lnTo>
                <a:lnTo>
                  <a:pt x="2566482" y="113407"/>
                </a:lnTo>
                <a:lnTo>
                  <a:pt x="2544384" y="113407"/>
                </a:lnTo>
                <a:lnTo>
                  <a:pt x="2495147" y="113407"/>
                </a:lnTo>
                <a:lnTo>
                  <a:pt x="2473049" y="113407"/>
                </a:lnTo>
                <a:lnTo>
                  <a:pt x="2445615" y="113407"/>
                </a:lnTo>
                <a:lnTo>
                  <a:pt x="2423517" y="113407"/>
                </a:lnTo>
                <a:lnTo>
                  <a:pt x="2332532" y="113407"/>
                </a:lnTo>
                <a:lnTo>
                  <a:pt x="2310433" y="113407"/>
                </a:lnTo>
                <a:lnTo>
                  <a:pt x="2304647" y="113407"/>
                </a:lnTo>
                <a:lnTo>
                  <a:pt x="2282549" y="113407"/>
                </a:lnTo>
                <a:lnTo>
                  <a:pt x="2146721" y="113407"/>
                </a:lnTo>
                <a:lnTo>
                  <a:pt x="2142032" y="113407"/>
                </a:lnTo>
                <a:lnTo>
                  <a:pt x="2139925" y="113407"/>
                </a:lnTo>
                <a:lnTo>
                  <a:pt x="2137864" y="113407"/>
                </a:lnTo>
                <a:lnTo>
                  <a:pt x="2124622" y="113407"/>
                </a:lnTo>
                <a:lnTo>
                  <a:pt x="2123432" y="113407"/>
                </a:lnTo>
                <a:lnTo>
                  <a:pt x="2119933" y="113407"/>
                </a:lnTo>
                <a:lnTo>
                  <a:pt x="2097049" y="113407"/>
                </a:lnTo>
                <a:cubicBezTo>
                  <a:pt x="2073661" y="113407"/>
                  <a:pt x="2037517" y="113407"/>
                  <a:pt x="1981658" y="113407"/>
                </a:cubicBezTo>
                <a:lnTo>
                  <a:pt x="1956221" y="113407"/>
                </a:lnTo>
                <a:lnTo>
                  <a:pt x="1949425" y="113407"/>
                </a:lnTo>
                <a:lnTo>
                  <a:pt x="1947364" y="113407"/>
                </a:lnTo>
                <a:lnTo>
                  <a:pt x="1934122" y="113407"/>
                </a:lnTo>
                <a:lnTo>
                  <a:pt x="1932932" y="113407"/>
                </a:lnTo>
                <a:lnTo>
                  <a:pt x="1906549" y="113407"/>
                </a:lnTo>
                <a:lnTo>
                  <a:pt x="1882214" y="113407"/>
                </a:lnTo>
                <a:lnTo>
                  <a:pt x="1861030" y="113407"/>
                </a:lnTo>
                <a:lnTo>
                  <a:pt x="1791158" y="113407"/>
                </a:lnTo>
                <a:lnTo>
                  <a:pt x="1747978" y="113407"/>
                </a:lnTo>
                <a:lnTo>
                  <a:pt x="1691714" y="113407"/>
                </a:lnTo>
                <a:lnTo>
                  <a:pt x="1573733" y="113407"/>
                </a:lnTo>
                <a:lnTo>
                  <a:pt x="1557478" y="113407"/>
                </a:lnTo>
                <a:lnTo>
                  <a:pt x="1383233" y="113407"/>
                </a:lnTo>
                <a:lnTo>
                  <a:pt x="1354259" y="113407"/>
                </a:lnTo>
                <a:lnTo>
                  <a:pt x="1163759" y="113407"/>
                </a:lnTo>
                <a:lnTo>
                  <a:pt x="1084338" y="113407"/>
                </a:lnTo>
                <a:lnTo>
                  <a:pt x="893838" y="113407"/>
                </a:lnTo>
                <a:cubicBezTo>
                  <a:pt x="820324" y="113407"/>
                  <a:pt x="727960" y="166215"/>
                  <a:pt x="690261" y="230339"/>
                </a:cubicBezTo>
                <a:cubicBezTo>
                  <a:pt x="690261" y="230339"/>
                  <a:pt x="690261" y="230339"/>
                  <a:pt x="162467" y="1145043"/>
                </a:cubicBezTo>
                <a:cubicBezTo>
                  <a:pt x="144559" y="1177105"/>
                  <a:pt x="135606" y="1219539"/>
                  <a:pt x="135606" y="1261974"/>
                </a:cubicBezTo>
                <a:close/>
                <a:moveTo>
                  <a:pt x="0" y="1261974"/>
                </a:moveTo>
                <a:cubicBezTo>
                  <a:pt x="0" y="1215349"/>
                  <a:pt x="9837" y="1168725"/>
                  <a:pt x="29513" y="1133497"/>
                </a:cubicBezTo>
                <a:cubicBezTo>
                  <a:pt x="609420" y="128477"/>
                  <a:pt x="609420" y="128477"/>
                  <a:pt x="609420" y="128477"/>
                </a:cubicBezTo>
                <a:cubicBezTo>
                  <a:pt x="650842" y="58022"/>
                  <a:pt x="752325" y="0"/>
                  <a:pt x="833098" y="0"/>
                </a:cubicBezTo>
                <a:cubicBezTo>
                  <a:pt x="1702959" y="0"/>
                  <a:pt x="1920424" y="0"/>
                  <a:pt x="1974790" y="0"/>
                </a:cubicBezTo>
                <a:lnTo>
                  <a:pt x="1976098" y="0"/>
                </a:lnTo>
                <a:lnTo>
                  <a:pt x="1990647" y="0"/>
                </a:lnTo>
                <a:lnTo>
                  <a:pt x="1992912" y="0"/>
                </a:lnTo>
                <a:lnTo>
                  <a:pt x="2000379" y="0"/>
                </a:lnTo>
                <a:lnTo>
                  <a:pt x="2180255" y="0"/>
                </a:lnTo>
                <a:lnTo>
                  <a:pt x="2204536" y="0"/>
                </a:lnTo>
                <a:lnTo>
                  <a:pt x="2358928" y="0"/>
                </a:lnTo>
                <a:lnTo>
                  <a:pt x="2383208" y="0"/>
                </a:lnTo>
                <a:lnTo>
                  <a:pt x="2513815" y="0"/>
                </a:lnTo>
                <a:lnTo>
                  <a:pt x="2538095" y="0"/>
                </a:lnTo>
                <a:lnTo>
                  <a:pt x="2646616" y="0"/>
                </a:lnTo>
                <a:lnTo>
                  <a:pt x="2670896" y="0"/>
                </a:lnTo>
                <a:lnTo>
                  <a:pt x="2759029" y="0"/>
                </a:lnTo>
                <a:lnTo>
                  <a:pt x="2783310" y="0"/>
                </a:lnTo>
                <a:lnTo>
                  <a:pt x="2852754" y="0"/>
                </a:lnTo>
                <a:lnTo>
                  <a:pt x="2877035" y="0"/>
                </a:lnTo>
                <a:lnTo>
                  <a:pt x="2929490" y="0"/>
                </a:lnTo>
                <a:lnTo>
                  <a:pt x="2953771" y="0"/>
                </a:lnTo>
                <a:lnTo>
                  <a:pt x="2990936" y="0"/>
                </a:lnTo>
                <a:lnTo>
                  <a:pt x="3015216" y="0"/>
                </a:lnTo>
                <a:lnTo>
                  <a:pt x="3074750" y="0"/>
                </a:lnTo>
                <a:lnTo>
                  <a:pt x="3099031" y="0"/>
                </a:lnTo>
                <a:lnTo>
                  <a:pt x="3117790" y="0"/>
                </a:lnTo>
                <a:cubicBezTo>
                  <a:pt x="3135912" y="0"/>
                  <a:pt x="3135912" y="0"/>
                  <a:pt x="3135912" y="0"/>
                </a:cubicBezTo>
                <a:lnTo>
                  <a:pt x="3142071" y="0"/>
                </a:lnTo>
                <a:lnTo>
                  <a:pt x="3143379" y="0"/>
                </a:lnTo>
                <a:lnTo>
                  <a:pt x="3157927" y="0"/>
                </a:lnTo>
                <a:lnTo>
                  <a:pt x="3160193" y="0"/>
                </a:lnTo>
                <a:lnTo>
                  <a:pt x="3347536" y="0"/>
                </a:lnTo>
                <a:cubicBezTo>
                  <a:pt x="4303193" y="0"/>
                  <a:pt x="4303193" y="0"/>
                  <a:pt x="4303193" y="0"/>
                </a:cubicBezTo>
                <a:cubicBezTo>
                  <a:pt x="4386037" y="0"/>
                  <a:pt x="4485449" y="58022"/>
                  <a:pt x="4526872" y="128477"/>
                </a:cubicBezTo>
                <a:cubicBezTo>
                  <a:pt x="5106779" y="1133497"/>
                  <a:pt x="5106779" y="1133497"/>
                  <a:pt x="5106779" y="1133497"/>
                </a:cubicBezTo>
                <a:cubicBezTo>
                  <a:pt x="5148200" y="1203952"/>
                  <a:pt x="5148200" y="1319996"/>
                  <a:pt x="5106779" y="1390451"/>
                </a:cubicBezTo>
                <a:cubicBezTo>
                  <a:pt x="4526872" y="2395471"/>
                  <a:pt x="4526872" y="2395471"/>
                  <a:pt x="4526872" y="2395471"/>
                </a:cubicBezTo>
                <a:cubicBezTo>
                  <a:pt x="4485449" y="2465926"/>
                  <a:pt x="4386037" y="2523948"/>
                  <a:pt x="4303193" y="2523948"/>
                </a:cubicBezTo>
                <a:lnTo>
                  <a:pt x="3160193" y="2523948"/>
                </a:lnTo>
                <a:lnTo>
                  <a:pt x="3143379" y="2523948"/>
                </a:lnTo>
                <a:lnTo>
                  <a:pt x="3135912" y="2523948"/>
                </a:lnTo>
                <a:lnTo>
                  <a:pt x="2000379" y="2523948"/>
                </a:lnTo>
                <a:lnTo>
                  <a:pt x="1992912" y="2523948"/>
                </a:lnTo>
                <a:lnTo>
                  <a:pt x="1976098" y="2523948"/>
                </a:lnTo>
                <a:lnTo>
                  <a:pt x="833098" y="2523948"/>
                </a:lnTo>
                <a:cubicBezTo>
                  <a:pt x="752325" y="2523948"/>
                  <a:pt x="650842" y="2465926"/>
                  <a:pt x="609420" y="2395471"/>
                </a:cubicBezTo>
                <a:cubicBezTo>
                  <a:pt x="29513" y="1390451"/>
                  <a:pt x="29513" y="1390451"/>
                  <a:pt x="29513" y="1390451"/>
                </a:cubicBezTo>
                <a:cubicBezTo>
                  <a:pt x="9837" y="1355223"/>
                  <a:pt x="0" y="1308599"/>
                  <a:pt x="0" y="1261974"/>
                </a:cubicBezTo>
                <a:close/>
              </a:path>
            </a:pathLst>
          </a:custGeom>
          <a:solidFill>
            <a:srgbClr val="02919F"/>
          </a:solidFill>
          <a:ln w="25400">
            <a:solidFill>
              <a:srgbClr val="02919F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 sz="2000">
              <a:solidFill>
                <a:prstClr val="black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" name="任意多边形 70"/>
          <p:cNvSpPr>
            <a:spLocks/>
          </p:cNvSpPr>
          <p:nvPr/>
        </p:nvSpPr>
        <p:spPr bwMode="auto">
          <a:xfrm rot="5400000">
            <a:off x="2039231" y="1685987"/>
            <a:ext cx="2273437" cy="1760195"/>
          </a:xfrm>
          <a:custGeom>
            <a:avLst/>
            <a:gdLst>
              <a:gd name="connsiteX0" fmla="*/ 135606 w 5137844"/>
              <a:gd name="connsiteY0" fmla="*/ 1261974 h 2523948"/>
              <a:gd name="connsiteX1" fmla="*/ 162467 w 5137844"/>
              <a:gd name="connsiteY1" fmla="*/ 1378906 h 2523948"/>
              <a:gd name="connsiteX2" fmla="*/ 690261 w 5137844"/>
              <a:gd name="connsiteY2" fmla="*/ 2293610 h 2523948"/>
              <a:gd name="connsiteX3" fmla="*/ 893838 w 5137844"/>
              <a:gd name="connsiteY3" fmla="*/ 2410541 h 2523948"/>
              <a:gd name="connsiteX4" fmla="*/ 1084338 w 5137844"/>
              <a:gd name="connsiteY4" fmla="*/ 2410541 h 2523948"/>
              <a:gd name="connsiteX5" fmla="*/ 1934122 w 5137844"/>
              <a:gd name="connsiteY5" fmla="*/ 2410541 h 2523948"/>
              <a:gd name="connsiteX6" fmla="*/ 1949425 w 5137844"/>
              <a:gd name="connsiteY6" fmla="*/ 2410541 h 2523948"/>
              <a:gd name="connsiteX7" fmla="*/ 1956221 w 5137844"/>
              <a:gd name="connsiteY7" fmla="*/ 2410541 h 2523948"/>
              <a:gd name="connsiteX8" fmla="*/ 2124622 w 5137844"/>
              <a:gd name="connsiteY8" fmla="*/ 2410541 h 2523948"/>
              <a:gd name="connsiteX9" fmla="*/ 2139925 w 5137844"/>
              <a:gd name="connsiteY9" fmla="*/ 2410541 h 2523948"/>
              <a:gd name="connsiteX10" fmla="*/ 2146721 w 5137844"/>
              <a:gd name="connsiteY10" fmla="*/ 2410541 h 2523948"/>
              <a:gd name="connsiteX11" fmla="*/ 2989710 w 5137844"/>
              <a:gd name="connsiteY11" fmla="*/ 2410541 h 2523948"/>
              <a:gd name="connsiteX12" fmla="*/ 2996506 w 5137844"/>
              <a:gd name="connsiteY12" fmla="*/ 2410541 h 2523948"/>
              <a:gd name="connsiteX13" fmla="*/ 3011809 w 5137844"/>
              <a:gd name="connsiteY13" fmla="*/ 2410541 h 2523948"/>
              <a:gd name="connsiteX14" fmla="*/ 3180210 w 5137844"/>
              <a:gd name="connsiteY14" fmla="*/ 2410541 h 2523948"/>
              <a:gd name="connsiteX15" fmla="*/ 3187006 w 5137844"/>
              <a:gd name="connsiteY15" fmla="*/ 2410541 h 2523948"/>
              <a:gd name="connsiteX16" fmla="*/ 3202309 w 5137844"/>
              <a:gd name="connsiteY16" fmla="*/ 2410541 h 2523948"/>
              <a:gd name="connsiteX17" fmla="*/ 4052093 w 5137844"/>
              <a:gd name="connsiteY17" fmla="*/ 2410541 h 2523948"/>
              <a:gd name="connsiteX18" fmla="*/ 4242593 w 5137844"/>
              <a:gd name="connsiteY18" fmla="*/ 2410541 h 2523948"/>
              <a:gd name="connsiteX19" fmla="*/ 4446171 w 5137844"/>
              <a:gd name="connsiteY19" fmla="*/ 2293610 h 2523948"/>
              <a:gd name="connsiteX20" fmla="*/ 4973965 w 5137844"/>
              <a:gd name="connsiteY20" fmla="*/ 1378906 h 2523948"/>
              <a:gd name="connsiteX21" fmla="*/ 4973965 w 5137844"/>
              <a:gd name="connsiteY21" fmla="*/ 1145043 h 2523948"/>
              <a:gd name="connsiteX22" fmla="*/ 4446171 w 5137844"/>
              <a:gd name="connsiteY22" fmla="*/ 230339 h 2523948"/>
              <a:gd name="connsiteX23" fmla="*/ 4242593 w 5137844"/>
              <a:gd name="connsiteY23" fmla="*/ 113407 h 2523948"/>
              <a:gd name="connsiteX24" fmla="*/ 4133871 w 5137844"/>
              <a:gd name="connsiteY24" fmla="*/ 113407 h 2523948"/>
              <a:gd name="connsiteX25" fmla="*/ 4052093 w 5137844"/>
              <a:gd name="connsiteY25" fmla="*/ 113407 h 2523948"/>
              <a:gd name="connsiteX26" fmla="*/ 4050394 w 5137844"/>
              <a:gd name="connsiteY26" fmla="*/ 113407 h 2523948"/>
              <a:gd name="connsiteX27" fmla="*/ 4038503 w 5137844"/>
              <a:gd name="connsiteY27" fmla="*/ 113407 h 2523948"/>
              <a:gd name="connsiteX28" fmla="*/ 4030245 w 5137844"/>
              <a:gd name="connsiteY28" fmla="*/ 113407 h 2523948"/>
              <a:gd name="connsiteX29" fmla="*/ 4006226 w 5137844"/>
              <a:gd name="connsiteY29" fmla="*/ 113407 h 2523948"/>
              <a:gd name="connsiteX30" fmla="*/ 3943371 w 5137844"/>
              <a:gd name="connsiteY30" fmla="*/ 113407 h 2523948"/>
              <a:gd name="connsiteX31" fmla="*/ 3875656 w 5137844"/>
              <a:gd name="connsiteY31" fmla="*/ 113407 h 2523948"/>
              <a:gd name="connsiteX32" fmla="*/ 3839745 w 5137844"/>
              <a:gd name="connsiteY32" fmla="*/ 113407 h 2523948"/>
              <a:gd name="connsiteX33" fmla="*/ 3776065 w 5137844"/>
              <a:gd name="connsiteY33" fmla="*/ 113407 h 2523948"/>
              <a:gd name="connsiteX34" fmla="*/ 3685156 w 5137844"/>
              <a:gd name="connsiteY34" fmla="*/ 113407 h 2523948"/>
              <a:gd name="connsiteX35" fmla="*/ 3659911 w 5137844"/>
              <a:gd name="connsiteY35" fmla="*/ 113407 h 2523948"/>
              <a:gd name="connsiteX36" fmla="*/ 3585565 w 5137844"/>
              <a:gd name="connsiteY36" fmla="*/ 113407 h 2523948"/>
              <a:gd name="connsiteX37" fmla="*/ 3525919 w 5137844"/>
              <a:gd name="connsiteY37" fmla="*/ 113407 h 2523948"/>
              <a:gd name="connsiteX38" fmla="*/ 3469411 w 5137844"/>
              <a:gd name="connsiteY38" fmla="*/ 113407 h 2523948"/>
              <a:gd name="connsiteX39" fmla="*/ 3372816 w 5137844"/>
              <a:gd name="connsiteY39" fmla="*/ 113407 h 2523948"/>
              <a:gd name="connsiteX40" fmla="*/ 3335419 w 5137844"/>
              <a:gd name="connsiteY40" fmla="*/ 113407 h 2523948"/>
              <a:gd name="connsiteX41" fmla="*/ 3202309 w 5137844"/>
              <a:gd name="connsiteY41" fmla="*/ 113407 h 2523948"/>
              <a:gd name="connsiteX42" fmla="*/ 3200246 w 5137844"/>
              <a:gd name="connsiteY42" fmla="*/ 113407 h 2523948"/>
              <a:gd name="connsiteX43" fmla="*/ 3187006 w 5137844"/>
              <a:gd name="connsiteY43" fmla="*/ 113407 h 2523948"/>
              <a:gd name="connsiteX44" fmla="*/ 3185815 w 5137844"/>
              <a:gd name="connsiteY44" fmla="*/ 113407 h 2523948"/>
              <a:gd name="connsiteX45" fmla="*/ 3182316 w 5137844"/>
              <a:gd name="connsiteY45" fmla="*/ 113407 h 2523948"/>
              <a:gd name="connsiteX46" fmla="*/ 3180210 w 5137844"/>
              <a:gd name="connsiteY46" fmla="*/ 113407 h 2523948"/>
              <a:gd name="connsiteX47" fmla="*/ 3163716 w 5137844"/>
              <a:gd name="connsiteY47" fmla="*/ 113407 h 2523948"/>
              <a:gd name="connsiteX48" fmla="*/ 3146643 w 5137844"/>
              <a:gd name="connsiteY48" fmla="*/ 113407 h 2523948"/>
              <a:gd name="connsiteX49" fmla="*/ 3124544 w 5137844"/>
              <a:gd name="connsiteY49" fmla="*/ 113407 h 2523948"/>
              <a:gd name="connsiteX50" fmla="*/ 3070360 w 5137844"/>
              <a:gd name="connsiteY50" fmla="*/ 113407 h 2523948"/>
              <a:gd name="connsiteX51" fmla="*/ 3048262 w 5137844"/>
              <a:gd name="connsiteY51" fmla="*/ 113407 h 2523948"/>
              <a:gd name="connsiteX52" fmla="*/ 3014437 w 5137844"/>
              <a:gd name="connsiteY52" fmla="*/ 113407 h 2523948"/>
              <a:gd name="connsiteX53" fmla="*/ 3011809 w 5137844"/>
              <a:gd name="connsiteY53" fmla="*/ 113407 h 2523948"/>
              <a:gd name="connsiteX54" fmla="*/ 3009746 w 5137844"/>
              <a:gd name="connsiteY54" fmla="*/ 113407 h 2523948"/>
              <a:gd name="connsiteX55" fmla="*/ 2996506 w 5137844"/>
              <a:gd name="connsiteY55" fmla="*/ 113407 h 2523948"/>
              <a:gd name="connsiteX56" fmla="*/ 2995315 w 5137844"/>
              <a:gd name="connsiteY56" fmla="*/ 113407 h 2523948"/>
              <a:gd name="connsiteX57" fmla="*/ 2992338 w 5137844"/>
              <a:gd name="connsiteY57" fmla="*/ 113407 h 2523948"/>
              <a:gd name="connsiteX58" fmla="*/ 2989710 w 5137844"/>
              <a:gd name="connsiteY58" fmla="*/ 113407 h 2523948"/>
              <a:gd name="connsiteX59" fmla="*/ 2987648 w 5137844"/>
              <a:gd name="connsiteY59" fmla="*/ 113407 h 2523948"/>
              <a:gd name="connsiteX60" fmla="*/ 2973216 w 5137844"/>
              <a:gd name="connsiteY60" fmla="*/ 113407 h 2523948"/>
              <a:gd name="connsiteX61" fmla="*/ 2956143 w 5137844"/>
              <a:gd name="connsiteY61" fmla="*/ 113407 h 2523948"/>
              <a:gd name="connsiteX62" fmla="*/ 2944597 w 5137844"/>
              <a:gd name="connsiteY62" fmla="*/ 113407 h 2523948"/>
              <a:gd name="connsiteX63" fmla="*/ 2934044 w 5137844"/>
              <a:gd name="connsiteY63" fmla="*/ 113407 h 2523948"/>
              <a:gd name="connsiteX64" fmla="*/ 2922498 w 5137844"/>
              <a:gd name="connsiteY64" fmla="*/ 113407 h 2523948"/>
              <a:gd name="connsiteX65" fmla="*/ 2879860 w 5137844"/>
              <a:gd name="connsiteY65" fmla="*/ 113407 h 2523948"/>
              <a:gd name="connsiteX66" fmla="*/ 2859294 w 5137844"/>
              <a:gd name="connsiteY66" fmla="*/ 113407 h 2523948"/>
              <a:gd name="connsiteX67" fmla="*/ 2857762 w 5137844"/>
              <a:gd name="connsiteY67" fmla="*/ 113407 h 2523948"/>
              <a:gd name="connsiteX68" fmla="*/ 2837195 w 5137844"/>
              <a:gd name="connsiteY68" fmla="*/ 113407 h 2523948"/>
              <a:gd name="connsiteX69" fmla="*/ 2823937 w 5137844"/>
              <a:gd name="connsiteY69" fmla="*/ 113407 h 2523948"/>
              <a:gd name="connsiteX70" fmla="*/ 2801838 w 5137844"/>
              <a:gd name="connsiteY70" fmla="*/ 113407 h 2523948"/>
              <a:gd name="connsiteX71" fmla="*/ 2756982 w 5137844"/>
              <a:gd name="connsiteY71" fmla="*/ 113407 h 2523948"/>
              <a:gd name="connsiteX72" fmla="*/ 2754097 w 5137844"/>
              <a:gd name="connsiteY72" fmla="*/ 113407 h 2523948"/>
              <a:gd name="connsiteX73" fmla="*/ 2734884 w 5137844"/>
              <a:gd name="connsiteY73" fmla="*/ 113407 h 2523948"/>
              <a:gd name="connsiteX74" fmla="*/ 2731998 w 5137844"/>
              <a:gd name="connsiteY74" fmla="*/ 113407 h 2523948"/>
              <a:gd name="connsiteX75" fmla="*/ 2668794 w 5137844"/>
              <a:gd name="connsiteY75" fmla="*/ 113407 h 2523948"/>
              <a:gd name="connsiteX76" fmla="*/ 2646695 w 5137844"/>
              <a:gd name="connsiteY76" fmla="*/ 113407 h 2523948"/>
              <a:gd name="connsiteX77" fmla="*/ 2636115 w 5137844"/>
              <a:gd name="connsiteY77" fmla="*/ 113407 h 2523948"/>
              <a:gd name="connsiteX78" fmla="*/ 2614017 w 5137844"/>
              <a:gd name="connsiteY78" fmla="*/ 113407 h 2523948"/>
              <a:gd name="connsiteX79" fmla="*/ 2566482 w 5137844"/>
              <a:gd name="connsiteY79" fmla="*/ 113407 h 2523948"/>
              <a:gd name="connsiteX80" fmla="*/ 2544384 w 5137844"/>
              <a:gd name="connsiteY80" fmla="*/ 113407 h 2523948"/>
              <a:gd name="connsiteX81" fmla="*/ 2495147 w 5137844"/>
              <a:gd name="connsiteY81" fmla="*/ 113407 h 2523948"/>
              <a:gd name="connsiteX82" fmla="*/ 2473049 w 5137844"/>
              <a:gd name="connsiteY82" fmla="*/ 113407 h 2523948"/>
              <a:gd name="connsiteX83" fmla="*/ 2445615 w 5137844"/>
              <a:gd name="connsiteY83" fmla="*/ 113407 h 2523948"/>
              <a:gd name="connsiteX84" fmla="*/ 2423517 w 5137844"/>
              <a:gd name="connsiteY84" fmla="*/ 113407 h 2523948"/>
              <a:gd name="connsiteX85" fmla="*/ 2332532 w 5137844"/>
              <a:gd name="connsiteY85" fmla="*/ 113407 h 2523948"/>
              <a:gd name="connsiteX86" fmla="*/ 2310433 w 5137844"/>
              <a:gd name="connsiteY86" fmla="*/ 113407 h 2523948"/>
              <a:gd name="connsiteX87" fmla="*/ 2304647 w 5137844"/>
              <a:gd name="connsiteY87" fmla="*/ 113407 h 2523948"/>
              <a:gd name="connsiteX88" fmla="*/ 2282549 w 5137844"/>
              <a:gd name="connsiteY88" fmla="*/ 113407 h 2523948"/>
              <a:gd name="connsiteX89" fmla="*/ 2146721 w 5137844"/>
              <a:gd name="connsiteY89" fmla="*/ 113407 h 2523948"/>
              <a:gd name="connsiteX90" fmla="*/ 2142032 w 5137844"/>
              <a:gd name="connsiteY90" fmla="*/ 113407 h 2523948"/>
              <a:gd name="connsiteX91" fmla="*/ 2139925 w 5137844"/>
              <a:gd name="connsiteY91" fmla="*/ 113407 h 2523948"/>
              <a:gd name="connsiteX92" fmla="*/ 2137864 w 5137844"/>
              <a:gd name="connsiteY92" fmla="*/ 113407 h 2523948"/>
              <a:gd name="connsiteX93" fmla="*/ 2124622 w 5137844"/>
              <a:gd name="connsiteY93" fmla="*/ 113407 h 2523948"/>
              <a:gd name="connsiteX94" fmla="*/ 2123432 w 5137844"/>
              <a:gd name="connsiteY94" fmla="*/ 113407 h 2523948"/>
              <a:gd name="connsiteX95" fmla="*/ 2119933 w 5137844"/>
              <a:gd name="connsiteY95" fmla="*/ 113407 h 2523948"/>
              <a:gd name="connsiteX96" fmla="*/ 2097049 w 5137844"/>
              <a:gd name="connsiteY96" fmla="*/ 113407 h 2523948"/>
              <a:gd name="connsiteX97" fmla="*/ 1981658 w 5137844"/>
              <a:gd name="connsiteY97" fmla="*/ 113407 h 2523948"/>
              <a:gd name="connsiteX98" fmla="*/ 1956221 w 5137844"/>
              <a:gd name="connsiteY98" fmla="*/ 113407 h 2523948"/>
              <a:gd name="connsiteX99" fmla="*/ 1949425 w 5137844"/>
              <a:gd name="connsiteY99" fmla="*/ 113407 h 2523948"/>
              <a:gd name="connsiteX100" fmla="*/ 1947364 w 5137844"/>
              <a:gd name="connsiteY100" fmla="*/ 113407 h 2523948"/>
              <a:gd name="connsiteX101" fmla="*/ 1934122 w 5137844"/>
              <a:gd name="connsiteY101" fmla="*/ 113407 h 2523948"/>
              <a:gd name="connsiteX102" fmla="*/ 1932932 w 5137844"/>
              <a:gd name="connsiteY102" fmla="*/ 113407 h 2523948"/>
              <a:gd name="connsiteX103" fmla="*/ 1906549 w 5137844"/>
              <a:gd name="connsiteY103" fmla="*/ 113407 h 2523948"/>
              <a:gd name="connsiteX104" fmla="*/ 1882214 w 5137844"/>
              <a:gd name="connsiteY104" fmla="*/ 113407 h 2523948"/>
              <a:gd name="connsiteX105" fmla="*/ 1861030 w 5137844"/>
              <a:gd name="connsiteY105" fmla="*/ 113407 h 2523948"/>
              <a:gd name="connsiteX106" fmla="*/ 1791158 w 5137844"/>
              <a:gd name="connsiteY106" fmla="*/ 113407 h 2523948"/>
              <a:gd name="connsiteX107" fmla="*/ 1747978 w 5137844"/>
              <a:gd name="connsiteY107" fmla="*/ 113407 h 2523948"/>
              <a:gd name="connsiteX108" fmla="*/ 1691714 w 5137844"/>
              <a:gd name="connsiteY108" fmla="*/ 113407 h 2523948"/>
              <a:gd name="connsiteX109" fmla="*/ 1573733 w 5137844"/>
              <a:gd name="connsiteY109" fmla="*/ 113407 h 2523948"/>
              <a:gd name="connsiteX110" fmla="*/ 1557478 w 5137844"/>
              <a:gd name="connsiteY110" fmla="*/ 113407 h 2523948"/>
              <a:gd name="connsiteX111" fmla="*/ 1383233 w 5137844"/>
              <a:gd name="connsiteY111" fmla="*/ 113407 h 2523948"/>
              <a:gd name="connsiteX112" fmla="*/ 1354259 w 5137844"/>
              <a:gd name="connsiteY112" fmla="*/ 113407 h 2523948"/>
              <a:gd name="connsiteX113" fmla="*/ 1163759 w 5137844"/>
              <a:gd name="connsiteY113" fmla="*/ 113407 h 2523948"/>
              <a:gd name="connsiteX114" fmla="*/ 1084338 w 5137844"/>
              <a:gd name="connsiteY114" fmla="*/ 113407 h 2523948"/>
              <a:gd name="connsiteX115" fmla="*/ 893838 w 5137844"/>
              <a:gd name="connsiteY115" fmla="*/ 113407 h 2523948"/>
              <a:gd name="connsiteX116" fmla="*/ 690261 w 5137844"/>
              <a:gd name="connsiteY116" fmla="*/ 230339 h 2523948"/>
              <a:gd name="connsiteX117" fmla="*/ 162467 w 5137844"/>
              <a:gd name="connsiteY117" fmla="*/ 1145043 h 2523948"/>
              <a:gd name="connsiteX118" fmla="*/ 135606 w 5137844"/>
              <a:gd name="connsiteY118" fmla="*/ 1261974 h 2523948"/>
              <a:gd name="connsiteX119" fmla="*/ 0 w 5137844"/>
              <a:gd name="connsiteY119" fmla="*/ 1261974 h 2523948"/>
              <a:gd name="connsiteX120" fmla="*/ 29513 w 5137844"/>
              <a:gd name="connsiteY120" fmla="*/ 1133497 h 2523948"/>
              <a:gd name="connsiteX121" fmla="*/ 609420 w 5137844"/>
              <a:gd name="connsiteY121" fmla="*/ 128477 h 2523948"/>
              <a:gd name="connsiteX122" fmla="*/ 833098 w 5137844"/>
              <a:gd name="connsiteY122" fmla="*/ 0 h 2523948"/>
              <a:gd name="connsiteX123" fmla="*/ 1974790 w 5137844"/>
              <a:gd name="connsiteY123" fmla="*/ 0 h 2523948"/>
              <a:gd name="connsiteX124" fmla="*/ 1976098 w 5137844"/>
              <a:gd name="connsiteY124" fmla="*/ 0 h 2523948"/>
              <a:gd name="connsiteX125" fmla="*/ 1990647 w 5137844"/>
              <a:gd name="connsiteY125" fmla="*/ 0 h 2523948"/>
              <a:gd name="connsiteX126" fmla="*/ 1992912 w 5137844"/>
              <a:gd name="connsiteY126" fmla="*/ 0 h 2523948"/>
              <a:gd name="connsiteX127" fmla="*/ 2000379 w 5137844"/>
              <a:gd name="connsiteY127" fmla="*/ 0 h 2523948"/>
              <a:gd name="connsiteX128" fmla="*/ 2180255 w 5137844"/>
              <a:gd name="connsiteY128" fmla="*/ 0 h 2523948"/>
              <a:gd name="connsiteX129" fmla="*/ 2204536 w 5137844"/>
              <a:gd name="connsiteY129" fmla="*/ 0 h 2523948"/>
              <a:gd name="connsiteX130" fmla="*/ 2358928 w 5137844"/>
              <a:gd name="connsiteY130" fmla="*/ 0 h 2523948"/>
              <a:gd name="connsiteX131" fmla="*/ 2383208 w 5137844"/>
              <a:gd name="connsiteY131" fmla="*/ 0 h 2523948"/>
              <a:gd name="connsiteX132" fmla="*/ 2513815 w 5137844"/>
              <a:gd name="connsiteY132" fmla="*/ 0 h 2523948"/>
              <a:gd name="connsiteX133" fmla="*/ 2538095 w 5137844"/>
              <a:gd name="connsiteY133" fmla="*/ 0 h 2523948"/>
              <a:gd name="connsiteX134" fmla="*/ 2646616 w 5137844"/>
              <a:gd name="connsiteY134" fmla="*/ 0 h 2523948"/>
              <a:gd name="connsiteX135" fmla="*/ 2670896 w 5137844"/>
              <a:gd name="connsiteY135" fmla="*/ 0 h 2523948"/>
              <a:gd name="connsiteX136" fmla="*/ 2759029 w 5137844"/>
              <a:gd name="connsiteY136" fmla="*/ 0 h 2523948"/>
              <a:gd name="connsiteX137" fmla="*/ 2783310 w 5137844"/>
              <a:gd name="connsiteY137" fmla="*/ 0 h 2523948"/>
              <a:gd name="connsiteX138" fmla="*/ 2852754 w 5137844"/>
              <a:gd name="connsiteY138" fmla="*/ 0 h 2523948"/>
              <a:gd name="connsiteX139" fmla="*/ 2877035 w 5137844"/>
              <a:gd name="connsiteY139" fmla="*/ 0 h 2523948"/>
              <a:gd name="connsiteX140" fmla="*/ 2929490 w 5137844"/>
              <a:gd name="connsiteY140" fmla="*/ 0 h 2523948"/>
              <a:gd name="connsiteX141" fmla="*/ 2953771 w 5137844"/>
              <a:gd name="connsiteY141" fmla="*/ 0 h 2523948"/>
              <a:gd name="connsiteX142" fmla="*/ 2990936 w 5137844"/>
              <a:gd name="connsiteY142" fmla="*/ 0 h 2523948"/>
              <a:gd name="connsiteX143" fmla="*/ 3015216 w 5137844"/>
              <a:gd name="connsiteY143" fmla="*/ 0 h 2523948"/>
              <a:gd name="connsiteX144" fmla="*/ 3074750 w 5137844"/>
              <a:gd name="connsiteY144" fmla="*/ 0 h 2523948"/>
              <a:gd name="connsiteX145" fmla="*/ 3099031 w 5137844"/>
              <a:gd name="connsiteY145" fmla="*/ 0 h 2523948"/>
              <a:gd name="connsiteX146" fmla="*/ 3117790 w 5137844"/>
              <a:gd name="connsiteY146" fmla="*/ 0 h 2523948"/>
              <a:gd name="connsiteX147" fmla="*/ 3135912 w 5137844"/>
              <a:gd name="connsiteY147" fmla="*/ 0 h 2523948"/>
              <a:gd name="connsiteX148" fmla="*/ 3142071 w 5137844"/>
              <a:gd name="connsiteY148" fmla="*/ 0 h 2523948"/>
              <a:gd name="connsiteX149" fmla="*/ 3143379 w 5137844"/>
              <a:gd name="connsiteY149" fmla="*/ 0 h 2523948"/>
              <a:gd name="connsiteX150" fmla="*/ 3157927 w 5137844"/>
              <a:gd name="connsiteY150" fmla="*/ 0 h 2523948"/>
              <a:gd name="connsiteX151" fmla="*/ 3160193 w 5137844"/>
              <a:gd name="connsiteY151" fmla="*/ 0 h 2523948"/>
              <a:gd name="connsiteX152" fmla="*/ 3347536 w 5137844"/>
              <a:gd name="connsiteY152" fmla="*/ 0 h 2523948"/>
              <a:gd name="connsiteX153" fmla="*/ 4303193 w 5137844"/>
              <a:gd name="connsiteY153" fmla="*/ 0 h 2523948"/>
              <a:gd name="connsiteX154" fmla="*/ 4526872 w 5137844"/>
              <a:gd name="connsiteY154" fmla="*/ 128477 h 2523948"/>
              <a:gd name="connsiteX155" fmla="*/ 5106779 w 5137844"/>
              <a:gd name="connsiteY155" fmla="*/ 1133497 h 2523948"/>
              <a:gd name="connsiteX156" fmla="*/ 5106779 w 5137844"/>
              <a:gd name="connsiteY156" fmla="*/ 1390451 h 2523948"/>
              <a:gd name="connsiteX157" fmla="*/ 4526872 w 5137844"/>
              <a:gd name="connsiteY157" fmla="*/ 2395471 h 2523948"/>
              <a:gd name="connsiteX158" fmla="*/ 4303193 w 5137844"/>
              <a:gd name="connsiteY158" fmla="*/ 2523948 h 2523948"/>
              <a:gd name="connsiteX159" fmla="*/ 3160193 w 5137844"/>
              <a:gd name="connsiteY159" fmla="*/ 2523948 h 2523948"/>
              <a:gd name="connsiteX160" fmla="*/ 3143379 w 5137844"/>
              <a:gd name="connsiteY160" fmla="*/ 2523948 h 2523948"/>
              <a:gd name="connsiteX161" fmla="*/ 3135912 w 5137844"/>
              <a:gd name="connsiteY161" fmla="*/ 2523948 h 2523948"/>
              <a:gd name="connsiteX162" fmla="*/ 2000379 w 5137844"/>
              <a:gd name="connsiteY162" fmla="*/ 2523948 h 2523948"/>
              <a:gd name="connsiteX163" fmla="*/ 1992912 w 5137844"/>
              <a:gd name="connsiteY163" fmla="*/ 2523948 h 2523948"/>
              <a:gd name="connsiteX164" fmla="*/ 1976098 w 5137844"/>
              <a:gd name="connsiteY164" fmla="*/ 2523948 h 2523948"/>
              <a:gd name="connsiteX165" fmla="*/ 833098 w 5137844"/>
              <a:gd name="connsiteY165" fmla="*/ 2523948 h 2523948"/>
              <a:gd name="connsiteX166" fmla="*/ 609420 w 5137844"/>
              <a:gd name="connsiteY166" fmla="*/ 2395471 h 2523948"/>
              <a:gd name="connsiteX167" fmla="*/ 29513 w 5137844"/>
              <a:gd name="connsiteY167" fmla="*/ 1390451 h 2523948"/>
              <a:gd name="connsiteX168" fmla="*/ 0 w 5137844"/>
              <a:gd name="connsiteY168" fmla="*/ 1261974 h 2523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5137844" h="2523948">
                <a:moveTo>
                  <a:pt x="135606" y="1261974"/>
                </a:moveTo>
                <a:cubicBezTo>
                  <a:pt x="135606" y="1304409"/>
                  <a:pt x="144559" y="1346843"/>
                  <a:pt x="162467" y="1378906"/>
                </a:cubicBezTo>
                <a:cubicBezTo>
                  <a:pt x="162467" y="1378906"/>
                  <a:pt x="162467" y="1378906"/>
                  <a:pt x="690261" y="2293610"/>
                </a:cubicBezTo>
                <a:cubicBezTo>
                  <a:pt x="727960" y="2357733"/>
                  <a:pt x="820324" y="2410541"/>
                  <a:pt x="893838" y="2410541"/>
                </a:cubicBezTo>
                <a:lnTo>
                  <a:pt x="1084338" y="2410541"/>
                </a:lnTo>
                <a:lnTo>
                  <a:pt x="1934122" y="2410541"/>
                </a:lnTo>
                <a:lnTo>
                  <a:pt x="1949425" y="2410541"/>
                </a:lnTo>
                <a:lnTo>
                  <a:pt x="1956221" y="2410541"/>
                </a:lnTo>
                <a:lnTo>
                  <a:pt x="2124622" y="2410541"/>
                </a:lnTo>
                <a:lnTo>
                  <a:pt x="2139925" y="2410541"/>
                </a:lnTo>
                <a:lnTo>
                  <a:pt x="2146721" y="2410541"/>
                </a:lnTo>
                <a:lnTo>
                  <a:pt x="2989710" y="2410541"/>
                </a:lnTo>
                <a:lnTo>
                  <a:pt x="2996506" y="2410541"/>
                </a:lnTo>
                <a:lnTo>
                  <a:pt x="3011809" y="2410541"/>
                </a:lnTo>
                <a:lnTo>
                  <a:pt x="3180210" y="2410541"/>
                </a:lnTo>
                <a:lnTo>
                  <a:pt x="3187006" y="2410541"/>
                </a:lnTo>
                <a:lnTo>
                  <a:pt x="3202309" y="2410541"/>
                </a:lnTo>
                <a:lnTo>
                  <a:pt x="4052093" y="2410541"/>
                </a:lnTo>
                <a:lnTo>
                  <a:pt x="4242593" y="2410541"/>
                </a:lnTo>
                <a:cubicBezTo>
                  <a:pt x="4317992" y="2410541"/>
                  <a:pt x="4408471" y="2357733"/>
                  <a:pt x="4446171" y="2293610"/>
                </a:cubicBezTo>
                <a:cubicBezTo>
                  <a:pt x="4446171" y="2293610"/>
                  <a:pt x="4446171" y="2293610"/>
                  <a:pt x="4973965" y="1378906"/>
                </a:cubicBezTo>
                <a:cubicBezTo>
                  <a:pt x="5011664" y="1314782"/>
                  <a:pt x="5011664" y="1209166"/>
                  <a:pt x="4973965" y="1145043"/>
                </a:cubicBezTo>
                <a:cubicBezTo>
                  <a:pt x="4973965" y="1145043"/>
                  <a:pt x="4973965" y="1145043"/>
                  <a:pt x="4446171" y="230339"/>
                </a:cubicBezTo>
                <a:cubicBezTo>
                  <a:pt x="4408471" y="166215"/>
                  <a:pt x="4317992" y="113407"/>
                  <a:pt x="4242593" y="113407"/>
                </a:cubicBezTo>
                <a:cubicBezTo>
                  <a:pt x="4242593" y="113407"/>
                  <a:pt x="4242593" y="113407"/>
                  <a:pt x="4133871" y="113407"/>
                </a:cubicBezTo>
                <a:lnTo>
                  <a:pt x="4052093" y="113407"/>
                </a:lnTo>
                <a:lnTo>
                  <a:pt x="4050394" y="113407"/>
                </a:lnTo>
                <a:lnTo>
                  <a:pt x="4038503" y="113407"/>
                </a:lnTo>
                <a:lnTo>
                  <a:pt x="4030245" y="113407"/>
                </a:lnTo>
                <a:lnTo>
                  <a:pt x="4006226" y="113407"/>
                </a:lnTo>
                <a:lnTo>
                  <a:pt x="3943371" y="113407"/>
                </a:lnTo>
                <a:lnTo>
                  <a:pt x="3875656" y="113407"/>
                </a:lnTo>
                <a:lnTo>
                  <a:pt x="3839745" y="113407"/>
                </a:lnTo>
                <a:lnTo>
                  <a:pt x="3776065" y="113407"/>
                </a:lnTo>
                <a:lnTo>
                  <a:pt x="3685156" y="113407"/>
                </a:lnTo>
                <a:lnTo>
                  <a:pt x="3659911" y="113407"/>
                </a:lnTo>
                <a:lnTo>
                  <a:pt x="3585565" y="113407"/>
                </a:lnTo>
                <a:lnTo>
                  <a:pt x="3525919" y="113407"/>
                </a:lnTo>
                <a:lnTo>
                  <a:pt x="3469411" y="113407"/>
                </a:lnTo>
                <a:lnTo>
                  <a:pt x="3372816" y="113407"/>
                </a:lnTo>
                <a:lnTo>
                  <a:pt x="3335419" y="113407"/>
                </a:lnTo>
                <a:lnTo>
                  <a:pt x="3202309" y="113407"/>
                </a:lnTo>
                <a:lnTo>
                  <a:pt x="3200246" y="113407"/>
                </a:lnTo>
                <a:lnTo>
                  <a:pt x="3187006" y="113407"/>
                </a:lnTo>
                <a:lnTo>
                  <a:pt x="3185815" y="113407"/>
                </a:lnTo>
                <a:lnTo>
                  <a:pt x="3182316" y="113407"/>
                </a:lnTo>
                <a:lnTo>
                  <a:pt x="3180210" y="113407"/>
                </a:lnTo>
                <a:cubicBezTo>
                  <a:pt x="3180210" y="113407"/>
                  <a:pt x="3180210" y="113407"/>
                  <a:pt x="3163716" y="113407"/>
                </a:cubicBezTo>
                <a:lnTo>
                  <a:pt x="3146643" y="113407"/>
                </a:lnTo>
                <a:lnTo>
                  <a:pt x="3124544" y="113407"/>
                </a:lnTo>
                <a:lnTo>
                  <a:pt x="3070360" y="113407"/>
                </a:lnTo>
                <a:lnTo>
                  <a:pt x="3048262" y="113407"/>
                </a:lnTo>
                <a:lnTo>
                  <a:pt x="3014437" y="113407"/>
                </a:lnTo>
                <a:lnTo>
                  <a:pt x="3011809" y="113407"/>
                </a:lnTo>
                <a:lnTo>
                  <a:pt x="3009746" y="113407"/>
                </a:lnTo>
                <a:lnTo>
                  <a:pt x="2996506" y="113407"/>
                </a:lnTo>
                <a:lnTo>
                  <a:pt x="2995315" y="113407"/>
                </a:lnTo>
                <a:lnTo>
                  <a:pt x="2992338" y="113407"/>
                </a:lnTo>
                <a:lnTo>
                  <a:pt x="2989710" y="113407"/>
                </a:lnTo>
                <a:lnTo>
                  <a:pt x="2987648" y="113407"/>
                </a:lnTo>
                <a:lnTo>
                  <a:pt x="2973216" y="113407"/>
                </a:lnTo>
                <a:lnTo>
                  <a:pt x="2956143" y="113407"/>
                </a:lnTo>
                <a:lnTo>
                  <a:pt x="2944597" y="113407"/>
                </a:lnTo>
                <a:lnTo>
                  <a:pt x="2934044" y="113407"/>
                </a:lnTo>
                <a:lnTo>
                  <a:pt x="2922498" y="113407"/>
                </a:lnTo>
                <a:lnTo>
                  <a:pt x="2879860" y="113407"/>
                </a:lnTo>
                <a:lnTo>
                  <a:pt x="2859294" y="113407"/>
                </a:lnTo>
                <a:lnTo>
                  <a:pt x="2857762" y="113407"/>
                </a:lnTo>
                <a:lnTo>
                  <a:pt x="2837195" y="113407"/>
                </a:lnTo>
                <a:lnTo>
                  <a:pt x="2823937" y="113407"/>
                </a:lnTo>
                <a:lnTo>
                  <a:pt x="2801838" y="113407"/>
                </a:lnTo>
                <a:lnTo>
                  <a:pt x="2756982" y="113407"/>
                </a:lnTo>
                <a:lnTo>
                  <a:pt x="2754097" y="113407"/>
                </a:lnTo>
                <a:lnTo>
                  <a:pt x="2734884" y="113407"/>
                </a:lnTo>
                <a:lnTo>
                  <a:pt x="2731998" y="113407"/>
                </a:lnTo>
                <a:lnTo>
                  <a:pt x="2668794" y="113407"/>
                </a:lnTo>
                <a:lnTo>
                  <a:pt x="2646695" y="113407"/>
                </a:lnTo>
                <a:lnTo>
                  <a:pt x="2636115" y="113407"/>
                </a:lnTo>
                <a:lnTo>
                  <a:pt x="2614017" y="113407"/>
                </a:lnTo>
                <a:lnTo>
                  <a:pt x="2566482" y="113407"/>
                </a:lnTo>
                <a:lnTo>
                  <a:pt x="2544384" y="113407"/>
                </a:lnTo>
                <a:lnTo>
                  <a:pt x="2495147" y="113407"/>
                </a:lnTo>
                <a:lnTo>
                  <a:pt x="2473049" y="113407"/>
                </a:lnTo>
                <a:lnTo>
                  <a:pt x="2445615" y="113407"/>
                </a:lnTo>
                <a:lnTo>
                  <a:pt x="2423517" y="113407"/>
                </a:lnTo>
                <a:lnTo>
                  <a:pt x="2332532" y="113407"/>
                </a:lnTo>
                <a:lnTo>
                  <a:pt x="2310433" y="113407"/>
                </a:lnTo>
                <a:lnTo>
                  <a:pt x="2304647" y="113407"/>
                </a:lnTo>
                <a:lnTo>
                  <a:pt x="2282549" y="113407"/>
                </a:lnTo>
                <a:lnTo>
                  <a:pt x="2146721" y="113407"/>
                </a:lnTo>
                <a:lnTo>
                  <a:pt x="2142032" y="113407"/>
                </a:lnTo>
                <a:lnTo>
                  <a:pt x="2139925" y="113407"/>
                </a:lnTo>
                <a:lnTo>
                  <a:pt x="2137864" y="113407"/>
                </a:lnTo>
                <a:lnTo>
                  <a:pt x="2124622" y="113407"/>
                </a:lnTo>
                <a:lnTo>
                  <a:pt x="2123432" y="113407"/>
                </a:lnTo>
                <a:lnTo>
                  <a:pt x="2119933" y="113407"/>
                </a:lnTo>
                <a:lnTo>
                  <a:pt x="2097049" y="113407"/>
                </a:lnTo>
                <a:cubicBezTo>
                  <a:pt x="2073661" y="113407"/>
                  <a:pt x="2037517" y="113407"/>
                  <a:pt x="1981658" y="113407"/>
                </a:cubicBezTo>
                <a:lnTo>
                  <a:pt x="1956221" y="113407"/>
                </a:lnTo>
                <a:lnTo>
                  <a:pt x="1949425" y="113407"/>
                </a:lnTo>
                <a:lnTo>
                  <a:pt x="1947364" y="113407"/>
                </a:lnTo>
                <a:lnTo>
                  <a:pt x="1934122" y="113407"/>
                </a:lnTo>
                <a:lnTo>
                  <a:pt x="1932932" y="113407"/>
                </a:lnTo>
                <a:lnTo>
                  <a:pt x="1906549" y="113407"/>
                </a:lnTo>
                <a:lnTo>
                  <a:pt x="1882214" y="113407"/>
                </a:lnTo>
                <a:lnTo>
                  <a:pt x="1861030" y="113407"/>
                </a:lnTo>
                <a:lnTo>
                  <a:pt x="1791158" y="113407"/>
                </a:lnTo>
                <a:lnTo>
                  <a:pt x="1747978" y="113407"/>
                </a:lnTo>
                <a:lnTo>
                  <a:pt x="1691714" y="113407"/>
                </a:lnTo>
                <a:lnTo>
                  <a:pt x="1573733" y="113407"/>
                </a:lnTo>
                <a:lnTo>
                  <a:pt x="1557478" y="113407"/>
                </a:lnTo>
                <a:lnTo>
                  <a:pt x="1383233" y="113407"/>
                </a:lnTo>
                <a:lnTo>
                  <a:pt x="1354259" y="113407"/>
                </a:lnTo>
                <a:lnTo>
                  <a:pt x="1163759" y="113407"/>
                </a:lnTo>
                <a:lnTo>
                  <a:pt x="1084338" y="113407"/>
                </a:lnTo>
                <a:lnTo>
                  <a:pt x="893838" y="113407"/>
                </a:lnTo>
                <a:cubicBezTo>
                  <a:pt x="820324" y="113407"/>
                  <a:pt x="727960" y="166215"/>
                  <a:pt x="690261" y="230339"/>
                </a:cubicBezTo>
                <a:cubicBezTo>
                  <a:pt x="690261" y="230339"/>
                  <a:pt x="690261" y="230339"/>
                  <a:pt x="162467" y="1145043"/>
                </a:cubicBezTo>
                <a:cubicBezTo>
                  <a:pt x="144559" y="1177105"/>
                  <a:pt x="135606" y="1219539"/>
                  <a:pt x="135606" y="1261974"/>
                </a:cubicBezTo>
                <a:close/>
                <a:moveTo>
                  <a:pt x="0" y="1261974"/>
                </a:moveTo>
                <a:cubicBezTo>
                  <a:pt x="0" y="1215349"/>
                  <a:pt x="9837" y="1168725"/>
                  <a:pt x="29513" y="1133497"/>
                </a:cubicBezTo>
                <a:cubicBezTo>
                  <a:pt x="609420" y="128477"/>
                  <a:pt x="609420" y="128477"/>
                  <a:pt x="609420" y="128477"/>
                </a:cubicBezTo>
                <a:cubicBezTo>
                  <a:pt x="650842" y="58022"/>
                  <a:pt x="752325" y="0"/>
                  <a:pt x="833098" y="0"/>
                </a:cubicBezTo>
                <a:cubicBezTo>
                  <a:pt x="1702959" y="0"/>
                  <a:pt x="1920424" y="0"/>
                  <a:pt x="1974790" y="0"/>
                </a:cubicBezTo>
                <a:lnTo>
                  <a:pt x="1976098" y="0"/>
                </a:lnTo>
                <a:lnTo>
                  <a:pt x="1990647" y="0"/>
                </a:lnTo>
                <a:lnTo>
                  <a:pt x="1992912" y="0"/>
                </a:lnTo>
                <a:lnTo>
                  <a:pt x="2000379" y="0"/>
                </a:lnTo>
                <a:lnTo>
                  <a:pt x="2180255" y="0"/>
                </a:lnTo>
                <a:lnTo>
                  <a:pt x="2204536" y="0"/>
                </a:lnTo>
                <a:lnTo>
                  <a:pt x="2358928" y="0"/>
                </a:lnTo>
                <a:lnTo>
                  <a:pt x="2383208" y="0"/>
                </a:lnTo>
                <a:lnTo>
                  <a:pt x="2513815" y="0"/>
                </a:lnTo>
                <a:lnTo>
                  <a:pt x="2538095" y="0"/>
                </a:lnTo>
                <a:lnTo>
                  <a:pt x="2646616" y="0"/>
                </a:lnTo>
                <a:lnTo>
                  <a:pt x="2670896" y="0"/>
                </a:lnTo>
                <a:lnTo>
                  <a:pt x="2759029" y="0"/>
                </a:lnTo>
                <a:lnTo>
                  <a:pt x="2783310" y="0"/>
                </a:lnTo>
                <a:lnTo>
                  <a:pt x="2852754" y="0"/>
                </a:lnTo>
                <a:lnTo>
                  <a:pt x="2877035" y="0"/>
                </a:lnTo>
                <a:lnTo>
                  <a:pt x="2929490" y="0"/>
                </a:lnTo>
                <a:lnTo>
                  <a:pt x="2953771" y="0"/>
                </a:lnTo>
                <a:lnTo>
                  <a:pt x="2990936" y="0"/>
                </a:lnTo>
                <a:lnTo>
                  <a:pt x="3015216" y="0"/>
                </a:lnTo>
                <a:lnTo>
                  <a:pt x="3074750" y="0"/>
                </a:lnTo>
                <a:lnTo>
                  <a:pt x="3099031" y="0"/>
                </a:lnTo>
                <a:lnTo>
                  <a:pt x="3117790" y="0"/>
                </a:lnTo>
                <a:cubicBezTo>
                  <a:pt x="3135912" y="0"/>
                  <a:pt x="3135912" y="0"/>
                  <a:pt x="3135912" y="0"/>
                </a:cubicBezTo>
                <a:lnTo>
                  <a:pt x="3142071" y="0"/>
                </a:lnTo>
                <a:lnTo>
                  <a:pt x="3143379" y="0"/>
                </a:lnTo>
                <a:lnTo>
                  <a:pt x="3157927" y="0"/>
                </a:lnTo>
                <a:lnTo>
                  <a:pt x="3160193" y="0"/>
                </a:lnTo>
                <a:lnTo>
                  <a:pt x="3347536" y="0"/>
                </a:lnTo>
                <a:cubicBezTo>
                  <a:pt x="4303193" y="0"/>
                  <a:pt x="4303193" y="0"/>
                  <a:pt x="4303193" y="0"/>
                </a:cubicBezTo>
                <a:cubicBezTo>
                  <a:pt x="4386037" y="0"/>
                  <a:pt x="4485449" y="58022"/>
                  <a:pt x="4526872" y="128477"/>
                </a:cubicBezTo>
                <a:cubicBezTo>
                  <a:pt x="5106779" y="1133497"/>
                  <a:pt x="5106779" y="1133497"/>
                  <a:pt x="5106779" y="1133497"/>
                </a:cubicBezTo>
                <a:cubicBezTo>
                  <a:pt x="5148200" y="1203952"/>
                  <a:pt x="5148200" y="1319996"/>
                  <a:pt x="5106779" y="1390451"/>
                </a:cubicBezTo>
                <a:cubicBezTo>
                  <a:pt x="4526872" y="2395471"/>
                  <a:pt x="4526872" y="2395471"/>
                  <a:pt x="4526872" y="2395471"/>
                </a:cubicBezTo>
                <a:cubicBezTo>
                  <a:pt x="4485449" y="2465926"/>
                  <a:pt x="4386037" y="2523948"/>
                  <a:pt x="4303193" y="2523948"/>
                </a:cubicBezTo>
                <a:lnTo>
                  <a:pt x="3160193" y="2523948"/>
                </a:lnTo>
                <a:lnTo>
                  <a:pt x="3143379" y="2523948"/>
                </a:lnTo>
                <a:lnTo>
                  <a:pt x="3135912" y="2523948"/>
                </a:lnTo>
                <a:lnTo>
                  <a:pt x="2000379" y="2523948"/>
                </a:lnTo>
                <a:lnTo>
                  <a:pt x="1992912" y="2523948"/>
                </a:lnTo>
                <a:lnTo>
                  <a:pt x="1976098" y="2523948"/>
                </a:lnTo>
                <a:lnTo>
                  <a:pt x="833098" y="2523948"/>
                </a:lnTo>
                <a:cubicBezTo>
                  <a:pt x="752325" y="2523948"/>
                  <a:pt x="650842" y="2465926"/>
                  <a:pt x="609420" y="2395471"/>
                </a:cubicBezTo>
                <a:cubicBezTo>
                  <a:pt x="29513" y="1390451"/>
                  <a:pt x="29513" y="1390451"/>
                  <a:pt x="29513" y="1390451"/>
                </a:cubicBezTo>
                <a:cubicBezTo>
                  <a:pt x="9837" y="1355223"/>
                  <a:pt x="0" y="1308599"/>
                  <a:pt x="0" y="1261974"/>
                </a:cubicBezTo>
                <a:close/>
              </a:path>
            </a:pathLst>
          </a:custGeom>
          <a:solidFill>
            <a:srgbClr val="02919F"/>
          </a:solidFill>
          <a:ln w="25400">
            <a:solidFill>
              <a:srgbClr val="02919F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 sz="2000">
              <a:solidFill>
                <a:prstClr val="black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0" name="任意多边形 70"/>
          <p:cNvSpPr>
            <a:spLocks/>
          </p:cNvSpPr>
          <p:nvPr/>
        </p:nvSpPr>
        <p:spPr bwMode="auto">
          <a:xfrm rot="5400000">
            <a:off x="4014272" y="1685987"/>
            <a:ext cx="2273437" cy="1760195"/>
          </a:xfrm>
          <a:custGeom>
            <a:avLst/>
            <a:gdLst>
              <a:gd name="connsiteX0" fmla="*/ 135606 w 5137844"/>
              <a:gd name="connsiteY0" fmla="*/ 1261974 h 2523948"/>
              <a:gd name="connsiteX1" fmla="*/ 162467 w 5137844"/>
              <a:gd name="connsiteY1" fmla="*/ 1378906 h 2523948"/>
              <a:gd name="connsiteX2" fmla="*/ 690261 w 5137844"/>
              <a:gd name="connsiteY2" fmla="*/ 2293610 h 2523948"/>
              <a:gd name="connsiteX3" fmla="*/ 893838 w 5137844"/>
              <a:gd name="connsiteY3" fmla="*/ 2410541 h 2523948"/>
              <a:gd name="connsiteX4" fmla="*/ 1084338 w 5137844"/>
              <a:gd name="connsiteY4" fmla="*/ 2410541 h 2523948"/>
              <a:gd name="connsiteX5" fmla="*/ 1934122 w 5137844"/>
              <a:gd name="connsiteY5" fmla="*/ 2410541 h 2523948"/>
              <a:gd name="connsiteX6" fmla="*/ 1949425 w 5137844"/>
              <a:gd name="connsiteY6" fmla="*/ 2410541 h 2523948"/>
              <a:gd name="connsiteX7" fmla="*/ 1956221 w 5137844"/>
              <a:gd name="connsiteY7" fmla="*/ 2410541 h 2523948"/>
              <a:gd name="connsiteX8" fmla="*/ 2124622 w 5137844"/>
              <a:gd name="connsiteY8" fmla="*/ 2410541 h 2523948"/>
              <a:gd name="connsiteX9" fmla="*/ 2139925 w 5137844"/>
              <a:gd name="connsiteY9" fmla="*/ 2410541 h 2523948"/>
              <a:gd name="connsiteX10" fmla="*/ 2146721 w 5137844"/>
              <a:gd name="connsiteY10" fmla="*/ 2410541 h 2523948"/>
              <a:gd name="connsiteX11" fmla="*/ 2989710 w 5137844"/>
              <a:gd name="connsiteY11" fmla="*/ 2410541 h 2523948"/>
              <a:gd name="connsiteX12" fmla="*/ 2996506 w 5137844"/>
              <a:gd name="connsiteY12" fmla="*/ 2410541 h 2523948"/>
              <a:gd name="connsiteX13" fmla="*/ 3011809 w 5137844"/>
              <a:gd name="connsiteY13" fmla="*/ 2410541 h 2523948"/>
              <a:gd name="connsiteX14" fmla="*/ 3180210 w 5137844"/>
              <a:gd name="connsiteY14" fmla="*/ 2410541 h 2523948"/>
              <a:gd name="connsiteX15" fmla="*/ 3187006 w 5137844"/>
              <a:gd name="connsiteY15" fmla="*/ 2410541 h 2523948"/>
              <a:gd name="connsiteX16" fmla="*/ 3202309 w 5137844"/>
              <a:gd name="connsiteY16" fmla="*/ 2410541 h 2523948"/>
              <a:gd name="connsiteX17" fmla="*/ 4052093 w 5137844"/>
              <a:gd name="connsiteY17" fmla="*/ 2410541 h 2523948"/>
              <a:gd name="connsiteX18" fmla="*/ 4242593 w 5137844"/>
              <a:gd name="connsiteY18" fmla="*/ 2410541 h 2523948"/>
              <a:gd name="connsiteX19" fmla="*/ 4446171 w 5137844"/>
              <a:gd name="connsiteY19" fmla="*/ 2293610 h 2523948"/>
              <a:gd name="connsiteX20" fmla="*/ 4973965 w 5137844"/>
              <a:gd name="connsiteY20" fmla="*/ 1378906 h 2523948"/>
              <a:gd name="connsiteX21" fmla="*/ 4973965 w 5137844"/>
              <a:gd name="connsiteY21" fmla="*/ 1145043 h 2523948"/>
              <a:gd name="connsiteX22" fmla="*/ 4446171 w 5137844"/>
              <a:gd name="connsiteY22" fmla="*/ 230339 h 2523948"/>
              <a:gd name="connsiteX23" fmla="*/ 4242593 w 5137844"/>
              <a:gd name="connsiteY23" fmla="*/ 113407 h 2523948"/>
              <a:gd name="connsiteX24" fmla="*/ 4133871 w 5137844"/>
              <a:gd name="connsiteY24" fmla="*/ 113407 h 2523948"/>
              <a:gd name="connsiteX25" fmla="*/ 4052093 w 5137844"/>
              <a:gd name="connsiteY25" fmla="*/ 113407 h 2523948"/>
              <a:gd name="connsiteX26" fmla="*/ 4050394 w 5137844"/>
              <a:gd name="connsiteY26" fmla="*/ 113407 h 2523948"/>
              <a:gd name="connsiteX27" fmla="*/ 4038503 w 5137844"/>
              <a:gd name="connsiteY27" fmla="*/ 113407 h 2523948"/>
              <a:gd name="connsiteX28" fmla="*/ 4030245 w 5137844"/>
              <a:gd name="connsiteY28" fmla="*/ 113407 h 2523948"/>
              <a:gd name="connsiteX29" fmla="*/ 4006226 w 5137844"/>
              <a:gd name="connsiteY29" fmla="*/ 113407 h 2523948"/>
              <a:gd name="connsiteX30" fmla="*/ 3943371 w 5137844"/>
              <a:gd name="connsiteY30" fmla="*/ 113407 h 2523948"/>
              <a:gd name="connsiteX31" fmla="*/ 3875656 w 5137844"/>
              <a:gd name="connsiteY31" fmla="*/ 113407 h 2523948"/>
              <a:gd name="connsiteX32" fmla="*/ 3839745 w 5137844"/>
              <a:gd name="connsiteY32" fmla="*/ 113407 h 2523948"/>
              <a:gd name="connsiteX33" fmla="*/ 3776065 w 5137844"/>
              <a:gd name="connsiteY33" fmla="*/ 113407 h 2523948"/>
              <a:gd name="connsiteX34" fmla="*/ 3685156 w 5137844"/>
              <a:gd name="connsiteY34" fmla="*/ 113407 h 2523948"/>
              <a:gd name="connsiteX35" fmla="*/ 3659911 w 5137844"/>
              <a:gd name="connsiteY35" fmla="*/ 113407 h 2523948"/>
              <a:gd name="connsiteX36" fmla="*/ 3585565 w 5137844"/>
              <a:gd name="connsiteY36" fmla="*/ 113407 h 2523948"/>
              <a:gd name="connsiteX37" fmla="*/ 3525919 w 5137844"/>
              <a:gd name="connsiteY37" fmla="*/ 113407 h 2523948"/>
              <a:gd name="connsiteX38" fmla="*/ 3469411 w 5137844"/>
              <a:gd name="connsiteY38" fmla="*/ 113407 h 2523948"/>
              <a:gd name="connsiteX39" fmla="*/ 3372816 w 5137844"/>
              <a:gd name="connsiteY39" fmla="*/ 113407 h 2523948"/>
              <a:gd name="connsiteX40" fmla="*/ 3335419 w 5137844"/>
              <a:gd name="connsiteY40" fmla="*/ 113407 h 2523948"/>
              <a:gd name="connsiteX41" fmla="*/ 3202309 w 5137844"/>
              <a:gd name="connsiteY41" fmla="*/ 113407 h 2523948"/>
              <a:gd name="connsiteX42" fmla="*/ 3200246 w 5137844"/>
              <a:gd name="connsiteY42" fmla="*/ 113407 h 2523948"/>
              <a:gd name="connsiteX43" fmla="*/ 3187006 w 5137844"/>
              <a:gd name="connsiteY43" fmla="*/ 113407 h 2523948"/>
              <a:gd name="connsiteX44" fmla="*/ 3185815 w 5137844"/>
              <a:gd name="connsiteY44" fmla="*/ 113407 h 2523948"/>
              <a:gd name="connsiteX45" fmla="*/ 3182316 w 5137844"/>
              <a:gd name="connsiteY45" fmla="*/ 113407 h 2523948"/>
              <a:gd name="connsiteX46" fmla="*/ 3180210 w 5137844"/>
              <a:gd name="connsiteY46" fmla="*/ 113407 h 2523948"/>
              <a:gd name="connsiteX47" fmla="*/ 3163716 w 5137844"/>
              <a:gd name="connsiteY47" fmla="*/ 113407 h 2523948"/>
              <a:gd name="connsiteX48" fmla="*/ 3146643 w 5137844"/>
              <a:gd name="connsiteY48" fmla="*/ 113407 h 2523948"/>
              <a:gd name="connsiteX49" fmla="*/ 3124544 w 5137844"/>
              <a:gd name="connsiteY49" fmla="*/ 113407 h 2523948"/>
              <a:gd name="connsiteX50" fmla="*/ 3070360 w 5137844"/>
              <a:gd name="connsiteY50" fmla="*/ 113407 h 2523948"/>
              <a:gd name="connsiteX51" fmla="*/ 3048262 w 5137844"/>
              <a:gd name="connsiteY51" fmla="*/ 113407 h 2523948"/>
              <a:gd name="connsiteX52" fmla="*/ 3014437 w 5137844"/>
              <a:gd name="connsiteY52" fmla="*/ 113407 h 2523948"/>
              <a:gd name="connsiteX53" fmla="*/ 3011809 w 5137844"/>
              <a:gd name="connsiteY53" fmla="*/ 113407 h 2523948"/>
              <a:gd name="connsiteX54" fmla="*/ 3009746 w 5137844"/>
              <a:gd name="connsiteY54" fmla="*/ 113407 h 2523948"/>
              <a:gd name="connsiteX55" fmla="*/ 2996506 w 5137844"/>
              <a:gd name="connsiteY55" fmla="*/ 113407 h 2523948"/>
              <a:gd name="connsiteX56" fmla="*/ 2995315 w 5137844"/>
              <a:gd name="connsiteY56" fmla="*/ 113407 h 2523948"/>
              <a:gd name="connsiteX57" fmla="*/ 2992338 w 5137844"/>
              <a:gd name="connsiteY57" fmla="*/ 113407 h 2523948"/>
              <a:gd name="connsiteX58" fmla="*/ 2989710 w 5137844"/>
              <a:gd name="connsiteY58" fmla="*/ 113407 h 2523948"/>
              <a:gd name="connsiteX59" fmla="*/ 2987648 w 5137844"/>
              <a:gd name="connsiteY59" fmla="*/ 113407 h 2523948"/>
              <a:gd name="connsiteX60" fmla="*/ 2973216 w 5137844"/>
              <a:gd name="connsiteY60" fmla="*/ 113407 h 2523948"/>
              <a:gd name="connsiteX61" fmla="*/ 2956143 w 5137844"/>
              <a:gd name="connsiteY61" fmla="*/ 113407 h 2523948"/>
              <a:gd name="connsiteX62" fmla="*/ 2944597 w 5137844"/>
              <a:gd name="connsiteY62" fmla="*/ 113407 h 2523948"/>
              <a:gd name="connsiteX63" fmla="*/ 2934044 w 5137844"/>
              <a:gd name="connsiteY63" fmla="*/ 113407 h 2523948"/>
              <a:gd name="connsiteX64" fmla="*/ 2922498 w 5137844"/>
              <a:gd name="connsiteY64" fmla="*/ 113407 h 2523948"/>
              <a:gd name="connsiteX65" fmla="*/ 2879860 w 5137844"/>
              <a:gd name="connsiteY65" fmla="*/ 113407 h 2523948"/>
              <a:gd name="connsiteX66" fmla="*/ 2859294 w 5137844"/>
              <a:gd name="connsiteY66" fmla="*/ 113407 h 2523948"/>
              <a:gd name="connsiteX67" fmla="*/ 2857762 w 5137844"/>
              <a:gd name="connsiteY67" fmla="*/ 113407 h 2523948"/>
              <a:gd name="connsiteX68" fmla="*/ 2837195 w 5137844"/>
              <a:gd name="connsiteY68" fmla="*/ 113407 h 2523948"/>
              <a:gd name="connsiteX69" fmla="*/ 2823937 w 5137844"/>
              <a:gd name="connsiteY69" fmla="*/ 113407 h 2523948"/>
              <a:gd name="connsiteX70" fmla="*/ 2801838 w 5137844"/>
              <a:gd name="connsiteY70" fmla="*/ 113407 h 2523948"/>
              <a:gd name="connsiteX71" fmla="*/ 2756982 w 5137844"/>
              <a:gd name="connsiteY71" fmla="*/ 113407 h 2523948"/>
              <a:gd name="connsiteX72" fmla="*/ 2754097 w 5137844"/>
              <a:gd name="connsiteY72" fmla="*/ 113407 h 2523948"/>
              <a:gd name="connsiteX73" fmla="*/ 2734884 w 5137844"/>
              <a:gd name="connsiteY73" fmla="*/ 113407 h 2523948"/>
              <a:gd name="connsiteX74" fmla="*/ 2731998 w 5137844"/>
              <a:gd name="connsiteY74" fmla="*/ 113407 h 2523948"/>
              <a:gd name="connsiteX75" fmla="*/ 2668794 w 5137844"/>
              <a:gd name="connsiteY75" fmla="*/ 113407 h 2523948"/>
              <a:gd name="connsiteX76" fmla="*/ 2646695 w 5137844"/>
              <a:gd name="connsiteY76" fmla="*/ 113407 h 2523948"/>
              <a:gd name="connsiteX77" fmla="*/ 2636115 w 5137844"/>
              <a:gd name="connsiteY77" fmla="*/ 113407 h 2523948"/>
              <a:gd name="connsiteX78" fmla="*/ 2614017 w 5137844"/>
              <a:gd name="connsiteY78" fmla="*/ 113407 h 2523948"/>
              <a:gd name="connsiteX79" fmla="*/ 2566482 w 5137844"/>
              <a:gd name="connsiteY79" fmla="*/ 113407 h 2523948"/>
              <a:gd name="connsiteX80" fmla="*/ 2544384 w 5137844"/>
              <a:gd name="connsiteY80" fmla="*/ 113407 h 2523948"/>
              <a:gd name="connsiteX81" fmla="*/ 2495147 w 5137844"/>
              <a:gd name="connsiteY81" fmla="*/ 113407 h 2523948"/>
              <a:gd name="connsiteX82" fmla="*/ 2473049 w 5137844"/>
              <a:gd name="connsiteY82" fmla="*/ 113407 h 2523948"/>
              <a:gd name="connsiteX83" fmla="*/ 2445615 w 5137844"/>
              <a:gd name="connsiteY83" fmla="*/ 113407 h 2523948"/>
              <a:gd name="connsiteX84" fmla="*/ 2423517 w 5137844"/>
              <a:gd name="connsiteY84" fmla="*/ 113407 h 2523948"/>
              <a:gd name="connsiteX85" fmla="*/ 2332532 w 5137844"/>
              <a:gd name="connsiteY85" fmla="*/ 113407 h 2523948"/>
              <a:gd name="connsiteX86" fmla="*/ 2310433 w 5137844"/>
              <a:gd name="connsiteY86" fmla="*/ 113407 h 2523948"/>
              <a:gd name="connsiteX87" fmla="*/ 2304647 w 5137844"/>
              <a:gd name="connsiteY87" fmla="*/ 113407 h 2523948"/>
              <a:gd name="connsiteX88" fmla="*/ 2282549 w 5137844"/>
              <a:gd name="connsiteY88" fmla="*/ 113407 h 2523948"/>
              <a:gd name="connsiteX89" fmla="*/ 2146721 w 5137844"/>
              <a:gd name="connsiteY89" fmla="*/ 113407 h 2523948"/>
              <a:gd name="connsiteX90" fmla="*/ 2142032 w 5137844"/>
              <a:gd name="connsiteY90" fmla="*/ 113407 h 2523948"/>
              <a:gd name="connsiteX91" fmla="*/ 2139925 w 5137844"/>
              <a:gd name="connsiteY91" fmla="*/ 113407 h 2523948"/>
              <a:gd name="connsiteX92" fmla="*/ 2137864 w 5137844"/>
              <a:gd name="connsiteY92" fmla="*/ 113407 h 2523948"/>
              <a:gd name="connsiteX93" fmla="*/ 2124622 w 5137844"/>
              <a:gd name="connsiteY93" fmla="*/ 113407 h 2523948"/>
              <a:gd name="connsiteX94" fmla="*/ 2123432 w 5137844"/>
              <a:gd name="connsiteY94" fmla="*/ 113407 h 2523948"/>
              <a:gd name="connsiteX95" fmla="*/ 2119933 w 5137844"/>
              <a:gd name="connsiteY95" fmla="*/ 113407 h 2523948"/>
              <a:gd name="connsiteX96" fmla="*/ 2097049 w 5137844"/>
              <a:gd name="connsiteY96" fmla="*/ 113407 h 2523948"/>
              <a:gd name="connsiteX97" fmla="*/ 1981658 w 5137844"/>
              <a:gd name="connsiteY97" fmla="*/ 113407 h 2523948"/>
              <a:gd name="connsiteX98" fmla="*/ 1956221 w 5137844"/>
              <a:gd name="connsiteY98" fmla="*/ 113407 h 2523948"/>
              <a:gd name="connsiteX99" fmla="*/ 1949425 w 5137844"/>
              <a:gd name="connsiteY99" fmla="*/ 113407 h 2523948"/>
              <a:gd name="connsiteX100" fmla="*/ 1947364 w 5137844"/>
              <a:gd name="connsiteY100" fmla="*/ 113407 h 2523948"/>
              <a:gd name="connsiteX101" fmla="*/ 1934122 w 5137844"/>
              <a:gd name="connsiteY101" fmla="*/ 113407 h 2523948"/>
              <a:gd name="connsiteX102" fmla="*/ 1932932 w 5137844"/>
              <a:gd name="connsiteY102" fmla="*/ 113407 h 2523948"/>
              <a:gd name="connsiteX103" fmla="*/ 1906549 w 5137844"/>
              <a:gd name="connsiteY103" fmla="*/ 113407 h 2523948"/>
              <a:gd name="connsiteX104" fmla="*/ 1882214 w 5137844"/>
              <a:gd name="connsiteY104" fmla="*/ 113407 h 2523948"/>
              <a:gd name="connsiteX105" fmla="*/ 1861030 w 5137844"/>
              <a:gd name="connsiteY105" fmla="*/ 113407 h 2523948"/>
              <a:gd name="connsiteX106" fmla="*/ 1791158 w 5137844"/>
              <a:gd name="connsiteY106" fmla="*/ 113407 h 2523948"/>
              <a:gd name="connsiteX107" fmla="*/ 1747978 w 5137844"/>
              <a:gd name="connsiteY107" fmla="*/ 113407 h 2523948"/>
              <a:gd name="connsiteX108" fmla="*/ 1691714 w 5137844"/>
              <a:gd name="connsiteY108" fmla="*/ 113407 h 2523948"/>
              <a:gd name="connsiteX109" fmla="*/ 1573733 w 5137844"/>
              <a:gd name="connsiteY109" fmla="*/ 113407 h 2523948"/>
              <a:gd name="connsiteX110" fmla="*/ 1557478 w 5137844"/>
              <a:gd name="connsiteY110" fmla="*/ 113407 h 2523948"/>
              <a:gd name="connsiteX111" fmla="*/ 1383233 w 5137844"/>
              <a:gd name="connsiteY111" fmla="*/ 113407 h 2523948"/>
              <a:gd name="connsiteX112" fmla="*/ 1354259 w 5137844"/>
              <a:gd name="connsiteY112" fmla="*/ 113407 h 2523948"/>
              <a:gd name="connsiteX113" fmla="*/ 1163759 w 5137844"/>
              <a:gd name="connsiteY113" fmla="*/ 113407 h 2523948"/>
              <a:gd name="connsiteX114" fmla="*/ 1084338 w 5137844"/>
              <a:gd name="connsiteY114" fmla="*/ 113407 h 2523948"/>
              <a:gd name="connsiteX115" fmla="*/ 893838 w 5137844"/>
              <a:gd name="connsiteY115" fmla="*/ 113407 h 2523948"/>
              <a:gd name="connsiteX116" fmla="*/ 690261 w 5137844"/>
              <a:gd name="connsiteY116" fmla="*/ 230339 h 2523948"/>
              <a:gd name="connsiteX117" fmla="*/ 162467 w 5137844"/>
              <a:gd name="connsiteY117" fmla="*/ 1145043 h 2523948"/>
              <a:gd name="connsiteX118" fmla="*/ 135606 w 5137844"/>
              <a:gd name="connsiteY118" fmla="*/ 1261974 h 2523948"/>
              <a:gd name="connsiteX119" fmla="*/ 0 w 5137844"/>
              <a:gd name="connsiteY119" fmla="*/ 1261974 h 2523948"/>
              <a:gd name="connsiteX120" fmla="*/ 29513 w 5137844"/>
              <a:gd name="connsiteY120" fmla="*/ 1133497 h 2523948"/>
              <a:gd name="connsiteX121" fmla="*/ 609420 w 5137844"/>
              <a:gd name="connsiteY121" fmla="*/ 128477 h 2523948"/>
              <a:gd name="connsiteX122" fmla="*/ 833098 w 5137844"/>
              <a:gd name="connsiteY122" fmla="*/ 0 h 2523948"/>
              <a:gd name="connsiteX123" fmla="*/ 1974790 w 5137844"/>
              <a:gd name="connsiteY123" fmla="*/ 0 h 2523948"/>
              <a:gd name="connsiteX124" fmla="*/ 1976098 w 5137844"/>
              <a:gd name="connsiteY124" fmla="*/ 0 h 2523948"/>
              <a:gd name="connsiteX125" fmla="*/ 1990647 w 5137844"/>
              <a:gd name="connsiteY125" fmla="*/ 0 h 2523948"/>
              <a:gd name="connsiteX126" fmla="*/ 1992912 w 5137844"/>
              <a:gd name="connsiteY126" fmla="*/ 0 h 2523948"/>
              <a:gd name="connsiteX127" fmla="*/ 2000379 w 5137844"/>
              <a:gd name="connsiteY127" fmla="*/ 0 h 2523948"/>
              <a:gd name="connsiteX128" fmla="*/ 2180255 w 5137844"/>
              <a:gd name="connsiteY128" fmla="*/ 0 h 2523948"/>
              <a:gd name="connsiteX129" fmla="*/ 2204536 w 5137844"/>
              <a:gd name="connsiteY129" fmla="*/ 0 h 2523948"/>
              <a:gd name="connsiteX130" fmla="*/ 2358928 w 5137844"/>
              <a:gd name="connsiteY130" fmla="*/ 0 h 2523948"/>
              <a:gd name="connsiteX131" fmla="*/ 2383208 w 5137844"/>
              <a:gd name="connsiteY131" fmla="*/ 0 h 2523948"/>
              <a:gd name="connsiteX132" fmla="*/ 2513815 w 5137844"/>
              <a:gd name="connsiteY132" fmla="*/ 0 h 2523948"/>
              <a:gd name="connsiteX133" fmla="*/ 2538095 w 5137844"/>
              <a:gd name="connsiteY133" fmla="*/ 0 h 2523948"/>
              <a:gd name="connsiteX134" fmla="*/ 2646616 w 5137844"/>
              <a:gd name="connsiteY134" fmla="*/ 0 h 2523948"/>
              <a:gd name="connsiteX135" fmla="*/ 2670896 w 5137844"/>
              <a:gd name="connsiteY135" fmla="*/ 0 h 2523948"/>
              <a:gd name="connsiteX136" fmla="*/ 2759029 w 5137844"/>
              <a:gd name="connsiteY136" fmla="*/ 0 h 2523948"/>
              <a:gd name="connsiteX137" fmla="*/ 2783310 w 5137844"/>
              <a:gd name="connsiteY137" fmla="*/ 0 h 2523948"/>
              <a:gd name="connsiteX138" fmla="*/ 2852754 w 5137844"/>
              <a:gd name="connsiteY138" fmla="*/ 0 h 2523948"/>
              <a:gd name="connsiteX139" fmla="*/ 2877035 w 5137844"/>
              <a:gd name="connsiteY139" fmla="*/ 0 h 2523948"/>
              <a:gd name="connsiteX140" fmla="*/ 2929490 w 5137844"/>
              <a:gd name="connsiteY140" fmla="*/ 0 h 2523948"/>
              <a:gd name="connsiteX141" fmla="*/ 2953771 w 5137844"/>
              <a:gd name="connsiteY141" fmla="*/ 0 h 2523948"/>
              <a:gd name="connsiteX142" fmla="*/ 2990936 w 5137844"/>
              <a:gd name="connsiteY142" fmla="*/ 0 h 2523948"/>
              <a:gd name="connsiteX143" fmla="*/ 3015216 w 5137844"/>
              <a:gd name="connsiteY143" fmla="*/ 0 h 2523948"/>
              <a:gd name="connsiteX144" fmla="*/ 3074750 w 5137844"/>
              <a:gd name="connsiteY144" fmla="*/ 0 h 2523948"/>
              <a:gd name="connsiteX145" fmla="*/ 3099031 w 5137844"/>
              <a:gd name="connsiteY145" fmla="*/ 0 h 2523948"/>
              <a:gd name="connsiteX146" fmla="*/ 3117790 w 5137844"/>
              <a:gd name="connsiteY146" fmla="*/ 0 h 2523948"/>
              <a:gd name="connsiteX147" fmla="*/ 3135912 w 5137844"/>
              <a:gd name="connsiteY147" fmla="*/ 0 h 2523948"/>
              <a:gd name="connsiteX148" fmla="*/ 3142071 w 5137844"/>
              <a:gd name="connsiteY148" fmla="*/ 0 h 2523948"/>
              <a:gd name="connsiteX149" fmla="*/ 3143379 w 5137844"/>
              <a:gd name="connsiteY149" fmla="*/ 0 h 2523948"/>
              <a:gd name="connsiteX150" fmla="*/ 3157927 w 5137844"/>
              <a:gd name="connsiteY150" fmla="*/ 0 h 2523948"/>
              <a:gd name="connsiteX151" fmla="*/ 3160193 w 5137844"/>
              <a:gd name="connsiteY151" fmla="*/ 0 h 2523948"/>
              <a:gd name="connsiteX152" fmla="*/ 3347536 w 5137844"/>
              <a:gd name="connsiteY152" fmla="*/ 0 h 2523948"/>
              <a:gd name="connsiteX153" fmla="*/ 4303193 w 5137844"/>
              <a:gd name="connsiteY153" fmla="*/ 0 h 2523948"/>
              <a:gd name="connsiteX154" fmla="*/ 4526872 w 5137844"/>
              <a:gd name="connsiteY154" fmla="*/ 128477 h 2523948"/>
              <a:gd name="connsiteX155" fmla="*/ 5106779 w 5137844"/>
              <a:gd name="connsiteY155" fmla="*/ 1133497 h 2523948"/>
              <a:gd name="connsiteX156" fmla="*/ 5106779 w 5137844"/>
              <a:gd name="connsiteY156" fmla="*/ 1390451 h 2523948"/>
              <a:gd name="connsiteX157" fmla="*/ 4526872 w 5137844"/>
              <a:gd name="connsiteY157" fmla="*/ 2395471 h 2523948"/>
              <a:gd name="connsiteX158" fmla="*/ 4303193 w 5137844"/>
              <a:gd name="connsiteY158" fmla="*/ 2523948 h 2523948"/>
              <a:gd name="connsiteX159" fmla="*/ 3160193 w 5137844"/>
              <a:gd name="connsiteY159" fmla="*/ 2523948 h 2523948"/>
              <a:gd name="connsiteX160" fmla="*/ 3143379 w 5137844"/>
              <a:gd name="connsiteY160" fmla="*/ 2523948 h 2523948"/>
              <a:gd name="connsiteX161" fmla="*/ 3135912 w 5137844"/>
              <a:gd name="connsiteY161" fmla="*/ 2523948 h 2523948"/>
              <a:gd name="connsiteX162" fmla="*/ 2000379 w 5137844"/>
              <a:gd name="connsiteY162" fmla="*/ 2523948 h 2523948"/>
              <a:gd name="connsiteX163" fmla="*/ 1992912 w 5137844"/>
              <a:gd name="connsiteY163" fmla="*/ 2523948 h 2523948"/>
              <a:gd name="connsiteX164" fmla="*/ 1976098 w 5137844"/>
              <a:gd name="connsiteY164" fmla="*/ 2523948 h 2523948"/>
              <a:gd name="connsiteX165" fmla="*/ 833098 w 5137844"/>
              <a:gd name="connsiteY165" fmla="*/ 2523948 h 2523948"/>
              <a:gd name="connsiteX166" fmla="*/ 609420 w 5137844"/>
              <a:gd name="connsiteY166" fmla="*/ 2395471 h 2523948"/>
              <a:gd name="connsiteX167" fmla="*/ 29513 w 5137844"/>
              <a:gd name="connsiteY167" fmla="*/ 1390451 h 2523948"/>
              <a:gd name="connsiteX168" fmla="*/ 0 w 5137844"/>
              <a:gd name="connsiteY168" fmla="*/ 1261974 h 2523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5137844" h="2523948">
                <a:moveTo>
                  <a:pt x="135606" y="1261974"/>
                </a:moveTo>
                <a:cubicBezTo>
                  <a:pt x="135606" y="1304409"/>
                  <a:pt x="144559" y="1346843"/>
                  <a:pt x="162467" y="1378906"/>
                </a:cubicBezTo>
                <a:cubicBezTo>
                  <a:pt x="162467" y="1378906"/>
                  <a:pt x="162467" y="1378906"/>
                  <a:pt x="690261" y="2293610"/>
                </a:cubicBezTo>
                <a:cubicBezTo>
                  <a:pt x="727960" y="2357733"/>
                  <a:pt x="820324" y="2410541"/>
                  <a:pt x="893838" y="2410541"/>
                </a:cubicBezTo>
                <a:lnTo>
                  <a:pt x="1084338" y="2410541"/>
                </a:lnTo>
                <a:lnTo>
                  <a:pt x="1934122" y="2410541"/>
                </a:lnTo>
                <a:lnTo>
                  <a:pt x="1949425" y="2410541"/>
                </a:lnTo>
                <a:lnTo>
                  <a:pt x="1956221" y="2410541"/>
                </a:lnTo>
                <a:lnTo>
                  <a:pt x="2124622" y="2410541"/>
                </a:lnTo>
                <a:lnTo>
                  <a:pt x="2139925" y="2410541"/>
                </a:lnTo>
                <a:lnTo>
                  <a:pt x="2146721" y="2410541"/>
                </a:lnTo>
                <a:lnTo>
                  <a:pt x="2989710" y="2410541"/>
                </a:lnTo>
                <a:lnTo>
                  <a:pt x="2996506" y="2410541"/>
                </a:lnTo>
                <a:lnTo>
                  <a:pt x="3011809" y="2410541"/>
                </a:lnTo>
                <a:lnTo>
                  <a:pt x="3180210" y="2410541"/>
                </a:lnTo>
                <a:lnTo>
                  <a:pt x="3187006" y="2410541"/>
                </a:lnTo>
                <a:lnTo>
                  <a:pt x="3202309" y="2410541"/>
                </a:lnTo>
                <a:lnTo>
                  <a:pt x="4052093" y="2410541"/>
                </a:lnTo>
                <a:lnTo>
                  <a:pt x="4242593" y="2410541"/>
                </a:lnTo>
                <a:cubicBezTo>
                  <a:pt x="4317992" y="2410541"/>
                  <a:pt x="4408471" y="2357733"/>
                  <a:pt x="4446171" y="2293610"/>
                </a:cubicBezTo>
                <a:cubicBezTo>
                  <a:pt x="4446171" y="2293610"/>
                  <a:pt x="4446171" y="2293610"/>
                  <a:pt x="4973965" y="1378906"/>
                </a:cubicBezTo>
                <a:cubicBezTo>
                  <a:pt x="5011664" y="1314782"/>
                  <a:pt x="5011664" y="1209166"/>
                  <a:pt x="4973965" y="1145043"/>
                </a:cubicBezTo>
                <a:cubicBezTo>
                  <a:pt x="4973965" y="1145043"/>
                  <a:pt x="4973965" y="1145043"/>
                  <a:pt x="4446171" y="230339"/>
                </a:cubicBezTo>
                <a:cubicBezTo>
                  <a:pt x="4408471" y="166215"/>
                  <a:pt x="4317992" y="113407"/>
                  <a:pt x="4242593" y="113407"/>
                </a:cubicBezTo>
                <a:cubicBezTo>
                  <a:pt x="4242593" y="113407"/>
                  <a:pt x="4242593" y="113407"/>
                  <a:pt x="4133871" y="113407"/>
                </a:cubicBezTo>
                <a:lnTo>
                  <a:pt x="4052093" y="113407"/>
                </a:lnTo>
                <a:lnTo>
                  <a:pt x="4050394" y="113407"/>
                </a:lnTo>
                <a:lnTo>
                  <a:pt x="4038503" y="113407"/>
                </a:lnTo>
                <a:lnTo>
                  <a:pt x="4030245" y="113407"/>
                </a:lnTo>
                <a:lnTo>
                  <a:pt x="4006226" y="113407"/>
                </a:lnTo>
                <a:lnTo>
                  <a:pt x="3943371" y="113407"/>
                </a:lnTo>
                <a:lnTo>
                  <a:pt x="3875656" y="113407"/>
                </a:lnTo>
                <a:lnTo>
                  <a:pt x="3839745" y="113407"/>
                </a:lnTo>
                <a:lnTo>
                  <a:pt x="3776065" y="113407"/>
                </a:lnTo>
                <a:lnTo>
                  <a:pt x="3685156" y="113407"/>
                </a:lnTo>
                <a:lnTo>
                  <a:pt x="3659911" y="113407"/>
                </a:lnTo>
                <a:lnTo>
                  <a:pt x="3585565" y="113407"/>
                </a:lnTo>
                <a:lnTo>
                  <a:pt x="3525919" y="113407"/>
                </a:lnTo>
                <a:lnTo>
                  <a:pt x="3469411" y="113407"/>
                </a:lnTo>
                <a:lnTo>
                  <a:pt x="3372816" y="113407"/>
                </a:lnTo>
                <a:lnTo>
                  <a:pt x="3335419" y="113407"/>
                </a:lnTo>
                <a:lnTo>
                  <a:pt x="3202309" y="113407"/>
                </a:lnTo>
                <a:lnTo>
                  <a:pt x="3200246" y="113407"/>
                </a:lnTo>
                <a:lnTo>
                  <a:pt x="3187006" y="113407"/>
                </a:lnTo>
                <a:lnTo>
                  <a:pt x="3185815" y="113407"/>
                </a:lnTo>
                <a:lnTo>
                  <a:pt x="3182316" y="113407"/>
                </a:lnTo>
                <a:lnTo>
                  <a:pt x="3180210" y="113407"/>
                </a:lnTo>
                <a:cubicBezTo>
                  <a:pt x="3180210" y="113407"/>
                  <a:pt x="3180210" y="113407"/>
                  <a:pt x="3163716" y="113407"/>
                </a:cubicBezTo>
                <a:lnTo>
                  <a:pt x="3146643" y="113407"/>
                </a:lnTo>
                <a:lnTo>
                  <a:pt x="3124544" y="113407"/>
                </a:lnTo>
                <a:lnTo>
                  <a:pt x="3070360" y="113407"/>
                </a:lnTo>
                <a:lnTo>
                  <a:pt x="3048262" y="113407"/>
                </a:lnTo>
                <a:lnTo>
                  <a:pt x="3014437" y="113407"/>
                </a:lnTo>
                <a:lnTo>
                  <a:pt x="3011809" y="113407"/>
                </a:lnTo>
                <a:lnTo>
                  <a:pt x="3009746" y="113407"/>
                </a:lnTo>
                <a:lnTo>
                  <a:pt x="2996506" y="113407"/>
                </a:lnTo>
                <a:lnTo>
                  <a:pt x="2995315" y="113407"/>
                </a:lnTo>
                <a:lnTo>
                  <a:pt x="2992338" y="113407"/>
                </a:lnTo>
                <a:lnTo>
                  <a:pt x="2989710" y="113407"/>
                </a:lnTo>
                <a:lnTo>
                  <a:pt x="2987648" y="113407"/>
                </a:lnTo>
                <a:lnTo>
                  <a:pt x="2973216" y="113407"/>
                </a:lnTo>
                <a:lnTo>
                  <a:pt x="2956143" y="113407"/>
                </a:lnTo>
                <a:lnTo>
                  <a:pt x="2944597" y="113407"/>
                </a:lnTo>
                <a:lnTo>
                  <a:pt x="2934044" y="113407"/>
                </a:lnTo>
                <a:lnTo>
                  <a:pt x="2922498" y="113407"/>
                </a:lnTo>
                <a:lnTo>
                  <a:pt x="2879860" y="113407"/>
                </a:lnTo>
                <a:lnTo>
                  <a:pt x="2859294" y="113407"/>
                </a:lnTo>
                <a:lnTo>
                  <a:pt x="2857762" y="113407"/>
                </a:lnTo>
                <a:lnTo>
                  <a:pt x="2837195" y="113407"/>
                </a:lnTo>
                <a:lnTo>
                  <a:pt x="2823937" y="113407"/>
                </a:lnTo>
                <a:lnTo>
                  <a:pt x="2801838" y="113407"/>
                </a:lnTo>
                <a:lnTo>
                  <a:pt x="2756982" y="113407"/>
                </a:lnTo>
                <a:lnTo>
                  <a:pt x="2754097" y="113407"/>
                </a:lnTo>
                <a:lnTo>
                  <a:pt x="2734884" y="113407"/>
                </a:lnTo>
                <a:lnTo>
                  <a:pt x="2731998" y="113407"/>
                </a:lnTo>
                <a:lnTo>
                  <a:pt x="2668794" y="113407"/>
                </a:lnTo>
                <a:lnTo>
                  <a:pt x="2646695" y="113407"/>
                </a:lnTo>
                <a:lnTo>
                  <a:pt x="2636115" y="113407"/>
                </a:lnTo>
                <a:lnTo>
                  <a:pt x="2614017" y="113407"/>
                </a:lnTo>
                <a:lnTo>
                  <a:pt x="2566482" y="113407"/>
                </a:lnTo>
                <a:lnTo>
                  <a:pt x="2544384" y="113407"/>
                </a:lnTo>
                <a:lnTo>
                  <a:pt x="2495147" y="113407"/>
                </a:lnTo>
                <a:lnTo>
                  <a:pt x="2473049" y="113407"/>
                </a:lnTo>
                <a:lnTo>
                  <a:pt x="2445615" y="113407"/>
                </a:lnTo>
                <a:lnTo>
                  <a:pt x="2423517" y="113407"/>
                </a:lnTo>
                <a:lnTo>
                  <a:pt x="2332532" y="113407"/>
                </a:lnTo>
                <a:lnTo>
                  <a:pt x="2310433" y="113407"/>
                </a:lnTo>
                <a:lnTo>
                  <a:pt x="2304647" y="113407"/>
                </a:lnTo>
                <a:lnTo>
                  <a:pt x="2282549" y="113407"/>
                </a:lnTo>
                <a:lnTo>
                  <a:pt x="2146721" y="113407"/>
                </a:lnTo>
                <a:lnTo>
                  <a:pt x="2142032" y="113407"/>
                </a:lnTo>
                <a:lnTo>
                  <a:pt x="2139925" y="113407"/>
                </a:lnTo>
                <a:lnTo>
                  <a:pt x="2137864" y="113407"/>
                </a:lnTo>
                <a:lnTo>
                  <a:pt x="2124622" y="113407"/>
                </a:lnTo>
                <a:lnTo>
                  <a:pt x="2123432" y="113407"/>
                </a:lnTo>
                <a:lnTo>
                  <a:pt x="2119933" y="113407"/>
                </a:lnTo>
                <a:lnTo>
                  <a:pt x="2097049" y="113407"/>
                </a:lnTo>
                <a:cubicBezTo>
                  <a:pt x="2073661" y="113407"/>
                  <a:pt x="2037517" y="113407"/>
                  <a:pt x="1981658" y="113407"/>
                </a:cubicBezTo>
                <a:lnTo>
                  <a:pt x="1956221" y="113407"/>
                </a:lnTo>
                <a:lnTo>
                  <a:pt x="1949425" y="113407"/>
                </a:lnTo>
                <a:lnTo>
                  <a:pt x="1947364" y="113407"/>
                </a:lnTo>
                <a:lnTo>
                  <a:pt x="1934122" y="113407"/>
                </a:lnTo>
                <a:lnTo>
                  <a:pt x="1932932" y="113407"/>
                </a:lnTo>
                <a:lnTo>
                  <a:pt x="1906549" y="113407"/>
                </a:lnTo>
                <a:lnTo>
                  <a:pt x="1882214" y="113407"/>
                </a:lnTo>
                <a:lnTo>
                  <a:pt x="1861030" y="113407"/>
                </a:lnTo>
                <a:lnTo>
                  <a:pt x="1791158" y="113407"/>
                </a:lnTo>
                <a:lnTo>
                  <a:pt x="1747978" y="113407"/>
                </a:lnTo>
                <a:lnTo>
                  <a:pt x="1691714" y="113407"/>
                </a:lnTo>
                <a:lnTo>
                  <a:pt x="1573733" y="113407"/>
                </a:lnTo>
                <a:lnTo>
                  <a:pt x="1557478" y="113407"/>
                </a:lnTo>
                <a:lnTo>
                  <a:pt x="1383233" y="113407"/>
                </a:lnTo>
                <a:lnTo>
                  <a:pt x="1354259" y="113407"/>
                </a:lnTo>
                <a:lnTo>
                  <a:pt x="1163759" y="113407"/>
                </a:lnTo>
                <a:lnTo>
                  <a:pt x="1084338" y="113407"/>
                </a:lnTo>
                <a:lnTo>
                  <a:pt x="893838" y="113407"/>
                </a:lnTo>
                <a:cubicBezTo>
                  <a:pt x="820324" y="113407"/>
                  <a:pt x="727960" y="166215"/>
                  <a:pt x="690261" y="230339"/>
                </a:cubicBezTo>
                <a:cubicBezTo>
                  <a:pt x="690261" y="230339"/>
                  <a:pt x="690261" y="230339"/>
                  <a:pt x="162467" y="1145043"/>
                </a:cubicBezTo>
                <a:cubicBezTo>
                  <a:pt x="144559" y="1177105"/>
                  <a:pt x="135606" y="1219539"/>
                  <a:pt x="135606" y="1261974"/>
                </a:cubicBezTo>
                <a:close/>
                <a:moveTo>
                  <a:pt x="0" y="1261974"/>
                </a:moveTo>
                <a:cubicBezTo>
                  <a:pt x="0" y="1215349"/>
                  <a:pt x="9837" y="1168725"/>
                  <a:pt x="29513" y="1133497"/>
                </a:cubicBezTo>
                <a:cubicBezTo>
                  <a:pt x="609420" y="128477"/>
                  <a:pt x="609420" y="128477"/>
                  <a:pt x="609420" y="128477"/>
                </a:cubicBezTo>
                <a:cubicBezTo>
                  <a:pt x="650842" y="58022"/>
                  <a:pt x="752325" y="0"/>
                  <a:pt x="833098" y="0"/>
                </a:cubicBezTo>
                <a:cubicBezTo>
                  <a:pt x="1702959" y="0"/>
                  <a:pt x="1920424" y="0"/>
                  <a:pt x="1974790" y="0"/>
                </a:cubicBezTo>
                <a:lnTo>
                  <a:pt x="1976098" y="0"/>
                </a:lnTo>
                <a:lnTo>
                  <a:pt x="1990647" y="0"/>
                </a:lnTo>
                <a:lnTo>
                  <a:pt x="1992912" y="0"/>
                </a:lnTo>
                <a:lnTo>
                  <a:pt x="2000379" y="0"/>
                </a:lnTo>
                <a:lnTo>
                  <a:pt x="2180255" y="0"/>
                </a:lnTo>
                <a:lnTo>
                  <a:pt x="2204536" y="0"/>
                </a:lnTo>
                <a:lnTo>
                  <a:pt x="2358928" y="0"/>
                </a:lnTo>
                <a:lnTo>
                  <a:pt x="2383208" y="0"/>
                </a:lnTo>
                <a:lnTo>
                  <a:pt x="2513815" y="0"/>
                </a:lnTo>
                <a:lnTo>
                  <a:pt x="2538095" y="0"/>
                </a:lnTo>
                <a:lnTo>
                  <a:pt x="2646616" y="0"/>
                </a:lnTo>
                <a:lnTo>
                  <a:pt x="2670896" y="0"/>
                </a:lnTo>
                <a:lnTo>
                  <a:pt x="2759029" y="0"/>
                </a:lnTo>
                <a:lnTo>
                  <a:pt x="2783310" y="0"/>
                </a:lnTo>
                <a:lnTo>
                  <a:pt x="2852754" y="0"/>
                </a:lnTo>
                <a:lnTo>
                  <a:pt x="2877035" y="0"/>
                </a:lnTo>
                <a:lnTo>
                  <a:pt x="2929490" y="0"/>
                </a:lnTo>
                <a:lnTo>
                  <a:pt x="2953771" y="0"/>
                </a:lnTo>
                <a:lnTo>
                  <a:pt x="2990936" y="0"/>
                </a:lnTo>
                <a:lnTo>
                  <a:pt x="3015216" y="0"/>
                </a:lnTo>
                <a:lnTo>
                  <a:pt x="3074750" y="0"/>
                </a:lnTo>
                <a:lnTo>
                  <a:pt x="3099031" y="0"/>
                </a:lnTo>
                <a:lnTo>
                  <a:pt x="3117790" y="0"/>
                </a:lnTo>
                <a:cubicBezTo>
                  <a:pt x="3135912" y="0"/>
                  <a:pt x="3135912" y="0"/>
                  <a:pt x="3135912" y="0"/>
                </a:cubicBezTo>
                <a:lnTo>
                  <a:pt x="3142071" y="0"/>
                </a:lnTo>
                <a:lnTo>
                  <a:pt x="3143379" y="0"/>
                </a:lnTo>
                <a:lnTo>
                  <a:pt x="3157927" y="0"/>
                </a:lnTo>
                <a:lnTo>
                  <a:pt x="3160193" y="0"/>
                </a:lnTo>
                <a:lnTo>
                  <a:pt x="3347536" y="0"/>
                </a:lnTo>
                <a:cubicBezTo>
                  <a:pt x="4303193" y="0"/>
                  <a:pt x="4303193" y="0"/>
                  <a:pt x="4303193" y="0"/>
                </a:cubicBezTo>
                <a:cubicBezTo>
                  <a:pt x="4386037" y="0"/>
                  <a:pt x="4485449" y="58022"/>
                  <a:pt x="4526872" y="128477"/>
                </a:cubicBezTo>
                <a:cubicBezTo>
                  <a:pt x="5106779" y="1133497"/>
                  <a:pt x="5106779" y="1133497"/>
                  <a:pt x="5106779" y="1133497"/>
                </a:cubicBezTo>
                <a:cubicBezTo>
                  <a:pt x="5148200" y="1203952"/>
                  <a:pt x="5148200" y="1319996"/>
                  <a:pt x="5106779" y="1390451"/>
                </a:cubicBezTo>
                <a:cubicBezTo>
                  <a:pt x="4526872" y="2395471"/>
                  <a:pt x="4526872" y="2395471"/>
                  <a:pt x="4526872" y="2395471"/>
                </a:cubicBezTo>
                <a:cubicBezTo>
                  <a:pt x="4485449" y="2465926"/>
                  <a:pt x="4386037" y="2523948"/>
                  <a:pt x="4303193" y="2523948"/>
                </a:cubicBezTo>
                <a:lnTo>
                  <a:pt x="3160193" y="2523948"/>
                </a:lnTo>
                <a:lnTo>
                  <a:pt x="3143379" y="2523948"/>
                </a:lnTo>
                <a:lnTo>
                  <a:pt x="3135912" y="2523948"/>
                </a:lnTo>
                <a:lnTo>
                  <a:pt x="2000379" y="2523948"/>
                </a:lnTo>
                <a:lnTo>
                  <a:pt x="1992912" y="2523948"/>
                </a:lnTo>
                <a:lnTo>
                  <a:pt x="1976098" y="2523948"/>
                </a:lnTo>
                <a:lnTo>
                  <a:pt x="833098" y="2523948"/>
                </a:lnTo>
                <a:cubicBezTo>
                  <a:pt x="752325" y="2523948"/>
                  <a:pt x="650842" y="2465926"/>
                  <a:pt x="609420" y="2395471"/>
                </a:cubicBezTo>
                <a:cubicBezTo>
                  <a:pt x="29513" y="1390451"/>
                  <a:pt x="29513" y="1390451"/>
                  <a:pt x="29513" y="1390451"/>
                </a:cubicBezTo>
                <a:cubicBezTo>
                  <a:pt x="9837" y="1355223"/>
                  <a:pt x="0" y="1308599"/>
                  <a:pt x="0" y="1261974"/>
                </a:cubicBezTo>
                <a:close/>
              </a:path>
            </a:pathLst>
          </a:custGeom>
          <a:solidFill>
            <a:srgbClr val="02919F"/>
          </a:solidFill>
          <a:ln w="25400">
            <a:solidFill>
              <a:srgbClr val="02919F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 sz="2000">
              <a:solidFill>
                <a:prstClr val="black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1" name="任意多边形 70"/>
          <p:cNvSpPr>
            <a:spLocks/>
          </p:cNvSpPr>
          <p:nvPr/>
        </p:nvSpPr>
        <p:spPr bwMode="auto">
          <a:xfrm rot="5400000">
            <a:off x="5989313" y="1685987"/>
            <a:ext cx="2273437" cy="1760195"/>
          </a:xfrm>
          <a:custGeom>
            <a:avLst/>
            <a:gdLst>
              <a:gd name="connsiteX0" fmla="*/ 135606 w 5137844"/>
              <a:gd name="connsiteY0" fmla="*/ 1261974 h 2523948"/>
              <a:gd name="connsiteX1" fmla="*/ 162467 w 5137844"/>
              <a:gd name="connsiteY1" fmla="*/ 1378906 h 2523948"/>
              <a:gd name="connsiteX2" fmla="*/ 690261 w 5137844"/>
              <a:gd name="connsiteY2" fmla="*/ 2293610 h 2523948"/>
              <a:gd name="connsiteX3" fmla="*/ 893838 w 5137844"/>
              <a:gd name="connsiteY3" fmla="*/ 2410541 h 2523948"/>
              <a:gd name="connsiteX4" fmla="*/ 1084338 w 5137844"/>
              <a:gd name="connsiteY4" fmla="*/ 2410541 h 2523948"/>
              <a:gd name="connsiteX5" fmla="*/ 1934122 w 5137844"/>
              <a:gd name="connsiteY5" fmla="*/ 2410541 h 2523948"/>
              <a:gd name="connsiteX6" fmla="*/ 1949425 w 5137844"/>
              <a:gd name="connsiteY6" fmla="*/ 2410541 h 2523948"/>
              <a:gd name="connsiteX7" fmla="*/ 1956221 w 5137844"/>
              <a:gd name="connsiteY7" fmla="*/ 2410541 h 2523948"/>
              <a:gd name="connsiteX8" fmla="*/ 2124622 w 5137844"/>
              <a:gd name="connsiteY8" fmla="*/ 2410541 h 2523948"/>
              <a:gd name="connsiteX9" fmla="*/ 2139925 w 5137844"/>
              <a:gd name="connsiteY9" fmla="*/ 2410541 h 2523948"/>
              <a:gd name="connsiteX10" fmla="*/ 2146721 w 5137844"/>
              <a:gd name="connsiteY10" fmla="*/ 2410541 h 2523948"/>
              <a:gd name="connsiteX11" fmla="*/ 2989710 w 5137844"/>
              <a:gd name="connsiteY11" fmla="*/ 2410541 h 2523948"/>
              <a:gd name="connsiteX12" fmla="*/ 2996506 w 5137844"/>
              <a:gd name="connsiteY12" fmla="*/ 2410541 h 2523948"/>
              <a:gd name="connsiteX13" fmla="*/ 3011809 w 5137844"/>
              <a:gd name="connsiteY13" fmla="*/ 2410541 h 2523948"/>
              <a:gd name="connsiteX14" fmla="*/ 3180210 w 5137844"/>
              <a:gd name="connsiteY14" fmla="*/ 2410541 h 2523948"/>
              <a:gd name="connsiteX15" fmla="*/ 3187006 w 5137844"/>
              <a:gd name="connsiteY15" fmla="*/ 2410541 h 2523948"/>
              <a:gd name="connsiteX16" fmla="*/ 3202309 w 5137844"/>
              <a:gd name="connsiteY16" fmla="*/ 2410541 h 2523948"/>
              <a:gd name="connsiteX17" fmla="*/ 4052093 w 5137844"/>
              <a:gd name="connsiteY17" fmla="*/ 2410541 h 2523948"/>
              <a:gd name="connsiteX18" fmla="*/ 4242593 w 5137844"/>
              <a:gd name="connsiteY18" fmla="*/ 2410541 h 2523948"/>
              <a:gd name="connsiteX19" fmla="*/ 4446171 w 5137844"/>
              <a:gd name="connsiteY19" fmla="*/ 2293610 h 2523948"/>
              <a:gd name="connsiteX20" fmla="*/ 4973965 w 5137844"/>
              <a:gd name="connsiteY20" fmla="*/ 1378906 h 2523948"/>
              <a:gd name="connsiteX21" fmla="*/ 4973965 w 5137844"/>
              <a:gd name="connsiteY21" fmla="*/ 1145043 h 2523948"/>
              <a:gd name="connsiteX22" fmla="*/ 4446171 w 5137844"/>
              <a:gd name="connsiteY22" fmla="*/ 230339 h 2523948"/>
              <a:gd name="connsiteX23" fmla="*/ 4242593 w 5137844"/>
              <a:gd name="connsiteY23" fmla="*/ 113407 h 2523948"/>
              <a:gd name="connsiteX24" fmla="*/ 4133871 w 5137844"/>
              <a:gd name="connsiteY24" fmla="*/ 113407 h 2523948"/>
              <a:gd name="connsiteX25" fmla="*/ 4052093 w 5137844"/>
              <a:gd name="connsiteY25" fmla="*/ 113407 h 2523948"/>
              <a:gd name="connsiteX26" fmla="*/ 4050394 w 5137844"/>
              <a:gd name="connsiteY26" fmla="*/ 113407 h 2523948"/>
              <a:gd name="connsiteX27" fmla="*/ 4038503 w 5137844"/>
              <a:gd name="connsiteY27" fmla="*/ 113407 h 2523948"/>
              <a:gd name="connsiteX28" fmla="*/ 4030245 w 5137844"/>
              <a:gd name="connsiteY28" fmla="*/ 113407 h 2523948"/>
              <a:gd name="connsiteX29" fmla="*/ 4006226 w 5137844"/>
              <a:gd name="connsiteY29" fmla="*/ 113407 h 2523948"/>
              <a:gd name="connsiteX30" fmla="*/ 3943371 w 5137844"/>
              <a:gd name="connsiteY30" fmla="*/ 113407 h 2523948"/>
              <a:gd name="connsiteX31" fmla="*/ 3875656 w 5137844"/>
              <a:gd name="connsiteY31" fmla="*/ 113407 h 2523948"/>
              <a:gd name="connsiteX32" fmla="*/ 3839745 w 5137844"/>
              <a:gd name="connsiteY32" fmla="*/ 113407 h 2523948"/>
              <a:gd name="connsiteX33" fmla="*/ 3776065 w 5137844"/>
              <a:gd name="connsiteY33" fmla="*/ 113407 h 2523948"/>
              <a:gd name="connsiteX34" fmla="*/ 3685156 w 5137844"/>
              <a:gd name="connsiteY34" fmla="*/ 113407 h 2523948"/>
              <a:gd name="connsiteX35" fmla="*/ 3659911 w 5137844"/>
              <a:gd name="connsiteY35" fmla="*/ 113407 h 2523948"/>
              <a:gd name="connsiteX36" fmla="*/ 3585565 w 5137844"/>
              <a:gd name="connsiteY36" fmla="*/ 113407 h 2523948"/>
              <a:gd name="connsiteX37" fmla="*/ 3525919 w 5137844"/>
              <a:gd name="connsiteY37" fmla="*/ 113407 h 2523948"/>
              <a:gd name="connsiteX38" fmla="*/ 3469411 w 5137844"/>
              <a:gd name="connsiteY38" fmla="*/ 113407 h 2523948"/>
              <a:gd name="connsiteX39" fmla="*/ 3372816 w 5137844"/>
              <a:gd name="connsiteY39" fmla="*/ 113407 h 2523948"/>
              <a:gd name="connsiteX40" fmla="*/ 3335419 w 5137844"/>
              <a:gd name="connsiteY40" fmla="*/ 113407 h 2523948"/>
              <a:gd name="connsiteX41" fmla="*/ 3202309 w 5137844"/>
              <a:gd name="connsiteY41" fmla="*/ 113407 h 2523948"/>
              <a:gd name="connsiteX42" fmla="*/ 3200246 w 5137844"/>
              <a:gd name="connsiteY42" fmla="*/ 113407 h 2523948"/>
              <a:gd name="connsiteX43" fmla="*/ 3187006 w 5137844"/>
              <a:gd name="connsiteY43" fmla="*/ 113407 h 2523948"/>
              <a:gd name="connsiteX44" fmla="*/ 3185815 w 5137844"/>
              <a:gd name="connsiteY44" fmla="*/ 113407 h 2523948"/>
              <a:gd name="connsiteX45" fmla="*/ 3182316 w 5137844"/>
              <a:gd name="connsiteY45" fmla="*/ 113407 h 2523948"/>
              <a:gd name="connsiteX46" fmla="*/ 3180210 w 5137844"/>
              <a:gd name="connsiteY46" fmla="*/ 113407 h 2523948"/>
              <a:gd name="connsiteX47" fmla="*/ 3163716 w 5137844"/>
              <a:gd name="connsiteY47" fmla="*/ 113407 h 2523948"/>
              <a:gd name="connsiteX48" fmla="*/ 3146643 w 5137844"/>
              <a:gd name="connsiteY48" fmla="*/ 113407 h 2523948"/>
              <a:gd name="connsiteX49" fmla="*/ 3124544 w 5137844"/>
              <a:gd name="connsiteY49" fmla="*/ 113407 h 2523948"/>
              <a:gd name="connsiteX50" fmla="*/ 3070360 w 5137844"/>
              <a:gd name="connsiteY50" fmla="*/ 113407 h 2523948"/>
              <a:gd name="connsiteX51" fmla="*/ 3048262 w 5137844"/>
              <a:gd name="connsiteY51" fmla="*/ 113407 h 2523948"/>
              <a:gd name="connsiteX52" fmla="*/ 3014437 w 5137844"/>
              <a:gd name="connsiteY52" fmla="*/ 113407 h 2523948"/>
              <a:gd name="connsiteX53" fmla="*/ 3011809 w 5137844"/>
              <a:gd name="connsiteY53" fmla="*/ 113407 h 2523948"/>
              <a:gd name="connsiteX54" fmla="*/ 3009746 w 5137844"/>
              <a:gd name="connsiteY54" fmla="*/ 113407 h 2523948"/>
              <a:gd name="connsiteX55" fmla="*/ 2996506 w 5137844"/>
              <a:gd name="connsiteY55" fmla="*/ 113407 h 2523948"/>
              <a:gd name="connsiteX56" fmla="*/ 2995315 w 5137844"/>
              <a:gd name="connsiteY56" fmla="*/ 113407 h 2523948"/>
              <a:gd name="connsiteX57" fmla="*/ 2992338 w 5137844"/>
              <a:gd name="connsiteY57" fmla="*/ 113407 h 2523948"/>
              <a:gd name="connsiteX58" fmla="*/ 2989710 w 5137844"/>
              <a:gd name="connsiteY58" fmla="*/ 113407 h 2523948"/>
              <a:gd name="connsiteX59" fmla="*/ 2987648 w 5137844"/>
              <a:gd name="connsiteY59" fmla="*/ 113407 h 2523948"/>
              <a:gd name="connsiteX60" fmla="*/ 2973216 w 5137844"/>
              <a:gd name="connsiteY60" fmla="*/ 113407 h 2523948"/>
              <a:gd name="connsiteX61" fmla="*/ 2956143 w 5137844"/>
              <a:gd name="connsiteY61" fmla="*/ 113407 h 2523948"/>
              <a:gd name="connsiteX62" fmla="*/ 2944597 w 5137844"/>
              <a:gd name="connsiteY62" fmla="*/ 113407 h 2523948"/>
              <a:gd name="connsiteX63" fmla="*/ 2934044 w 5137844"/>
              <a:gd name="connsiteY63" fmla="*/ 113407 h 2523948"/>
              <a:gd name="connsiteX64" fmla="*/ 2922498 w 5137844"/>
              <a:gd name="connsiteY64" fmla="*/ 113407 h 2523948"/>
              <a:gd name="connsiteX65" fmla="*/ 2879860 w 5137844"/>
              <a:gd name="connsiteY65" fmla="*/ 113407 h 2523948"/>
              <a:gd name="connsiteX66" fmla="*/ 2859294 w 5137844"/>
              <a:gd name="connsiteY66" fmla="*/ 113407 h 2523948"/>
              <a:gd name="connsiteX67" fmla="*/ 2857762 w 5137844"/>
              <a:gd name="connsiteY67" fmla="*/ 113407 h 2523948"/>
              <a:gd name="connsiteX68" fmla="*/ 2837195 w 5137844"/>
              <a:gd name="connsiteY68" fmla="*/ 113407 h 2523948"/>
              <a:gd name="connsiteX69" fmla="*/ 2823937 w 5137844"/>
              <a:gd name="connsiteY69" fmla="*/ 113407 h 2523948"/>
              <a:gd name="connsiteX70" fmla="*/ 2801838 w 5137844"/>
              <a:gd name="connsiteY70" fmla="*/ 113407 h 2523948"/>
              <a:gd name="connsiteX71" fmla="*/ 2756982 w 5137844"/>
              <a:gd name="connsiteY71" fmla="*/ 113407 h 2523948"/>
              <a:gd name="connsiteX72" fmla="*/ 2754097 w 5137844"/>
              <a:gd name="connsiteY72" fmla="*/ 113407 h 2523948"/>
              <a:gd name="connsiteX73" fmla="*/ 2734884 w 5137844"/>
              <a:gd name="connsiteY73" fmla="*/ 113407 h 2523948"/>
              <a:gd name="connsiteX74" fmla="*/ 2731998 w 5137844"/>
              <a:gd name="connsiteY74" fmla="*/ 113407 h 2523948"/>
              <a:gd name="connsiteX75" fmla="*/ 2668794 w 5137844"/>
              <a:gd name="connsiteY75" fmla="*/ 113407 h 2523948"/>
              <a:gd name="connsiteX76" fmla="*/ 2646695 w 5137844"/>
              <a:gd name="connsiteY76" fmla="*/ 113407 h 2523948"/>
              <a:gd name="connsiteX77" fmla="*/ 2636115 w 5137844"/>
              <a:gd name="connsiteY77" fmla="*/ 113407 h 2523948"/>
              <a:gd name="connsiteX78" fmla="*/ 2614017 w 5137844"/>
              <a:gd name="connsiteY78" fmla="*/ 113407 h 2523948"/>
              <a:gd name="connsiteX79" fmla="*/ 2566482 w 5137844"/>
              <a:gd name="connsiteY79" fmla="*/ 113407 h 2523948"/>
              <a:gd name="connsiteX80" fmla="*/ 2544384 w 5137844"/>
              <a:gd name="connsiteY80" fmla="*/ 113407 h 2523948"/>
              <a:gd name="connsiteX81" fmla="*/ 2495147 w 5137844"/>
              <a:gd name="connsiteY81" fmla="*/ 113407 h 2523948"/>
              <a:gd name="connsiteX82" fmla="*/ 2473049 w 5137844"/>
              <a:gd name="connsiteY82" fmla="*/ 113407 h 2523948"/>
              <a:gd name="connsiteX83" fmla="*/ 2445615 w 5137844"/>
              <a:gd name="connsiteY83" fmla="*/ 113407 h 2523948"/>
              <a:gd name="connsiteX84" fmla="*/ 2423517 w 5137844"/>
              <a:gd name="connsiteY84" fmla="*/ 113407 h 2523948"/>
              <a:gd name="connsiteX85" fmla="*/ 2332532 w 5137844"/>
              <a:gd name="connsiteY85" fmla="*/ 113407 h 2523948"/>
              <a:gd name="connsiteX86" fmla="*/ 2310433 w 5137844"/>
              <a:gd name="connsiteY86" fmla="*/ 113407 h 2523948"/>
              <a:gd name="connsiteX87" fmla="*/ 2304647 w 5137844"/>
              <a:gd name="connsiteY87" fmla="*/ 113407 h 2523948"/>
              <a:gd name="connsiteX88" fmla="*/ 2282549 w 5137844"/>
              <a:gd name="connsiteY88" fmla="*/ 113407 h 2523948"/>
              <a:gd name="connsiteX89" fmla="*/ 2146721 w 5137844"/>
              <a:gd name="connsiteY89" fmla="*/ 113407 h 2523948"/>
              <a:gd name="connsiteX90" fmla="*/ 2142032 w 5137844"/>
              <a:gd name="connsiteY90" fmla="*/ 113407 h 2523948"/>
              <a:gd name="connsiteX91" fmla="*/ 2139925 w 5137844"/>
              <a:gd name="connsiteY91" fmla="*/ 113407 h 2523948"/>
              <a:gd name="connsiteX92" fmla="*/ 2137864 w 5137844"/>
              <a:gd name="connsiteY92" fmla="*/ 113407 h 2523948"/>
              <a:gd name="connsiteX93" fmla="*/ 2124622 w 5137844"/>
              <a:gd name="connsiteY93" fmla="*/ 113407 h 2523948"/>
              <a:gd name="connsiteX94" fmla="*/ 2123432 w 5137844"/>
              <a:gd name="connsiteY94" fmla="*/ 113407 h 2523948"/>
              <a:gd name="connsiteX95" fmla="*/ 2119933 w 5137844"/>
              <a:gd name="connsiteY95" fmla="*/ 113407 h 2523948"/>
              <a:gd name="connsiteX96" fmla="*/ 2097049 w 5137844"/>
              <a:gd name="connsiteY96" fmla="*/ 113407 h 2523948"/>
              <a:gd name="connsiteX97" fmla="*/ 1981658 w 5137844"/>
              <a:gd name="connsiteY97" fmla="*/ 113407 h 2523948"/>
              <a:gd name="connsiteX98" fmla="*/ 1956221 w 5137844"/>
              <a:gd name="connsiteY98" fmla="*/ 113407 h 2523948"/>
              <a:gd name="connsiteX99" fmla="*/ 1949425 w 5137844"/>
              <a:gd name="connsiteY99" fmla="*/ 113407 h 2523948"/>
              <a:gd name="connsiteX100" fmla="*/ 1947364 w 5137844"/>
              <a:gd name="connsiteY100" fmla="*/ 113407 h 2523948"/>
              <a:gd name="connsiteX101" fmla="*/ 1934122 w 5137844"/>
              <a:gd name="connsiteY101" fmla="*/ 113407 h 2523948"/>
              <a:gd name="connsiteX102" fmla="*/ 1932932 w 5137844"/>
              <a:gd name="connsiteY102" fmla="*/ 113407 h 2523948"/>
              <a:gd name="connsiteX103" fmla="*/ 1906549 w 5137844"/>
              <a:gd name="connsiteY103" fmla="*/ 113407 h 2523948"/>
              <a:gd name="connsiteX104" fmla="*/ 1882214 w 5137844"/>
              <a:gd name="connsiteY104" fmla="*/ 113407 h 2523948"/>
              <a:gd name="connsiteX105" fmla="*/ 1861030 w 5137844"/>
              <a:gd name="connsiteY105" fmla="*/ 113407 h 2523948"/>
              <a:gd name="connsiteX106" fmla="*/ 1791158 w 5137844"/>
              <a:gd name="connsiteY106" fmla="*/ 113407 h 2523948"/>
              <a:gd name="connsiteX107" fmla="*/ 1747978 w 5137844"/>
              <a:gd name="connsiteY107" fmla="*/ 113407 h 2523948"/>
              <a:gd name="connsiteX108" fmla="*/ 1691714 w 5137844"/>
              <a:gd name="connsiteY108" fmla="*/ 113407 h 2523948"/>
              <a:gd name="connsiteX109" fmla="*/ 1573733 w 5137844"/>
              <a:gd name="connsiteY109" fmla="*/ 113407 h 2523948"/>
              <a:gd name="connsiteX110" fmla="*/ 1557478 w 5137844"/>
              <a:gd name="connsiteY110" fmla="*/ 113407 h 2523948"/>
              <a:gd name="connsiteX111" fmla="*/ 1383233 w 5137844"/>
              <a:gd name="connsiteY111" fmla="*/ 113407 h 2523948"/>
              <a:gd name="connsiteX112" fmla="*/ 1354259 w 5137844"/>
              <a:gd name="connsiteY112" fmla="*/ 113407 h 2523948"/>
              <a:gd name="connsiteX113" fmla="*/ 1163759 w 5137844"/>
              <a:gd name="connsiteY113" fmla="*/ 113407 h 2523948"/>
              <a:gd name="connsiteX114" fmla="*/ 1084338 w 5137844"/>
              <a:gd name="connsiteY114" fmla="*/ 113407 h 2523948"/>
              <a:gd name="connsiteX115" fmla="*/ 893838 w 5137844"/>
              <a:gd name="connsiteY115" fmla="*/ 113407 h 2523948"/>
              <a:gd name="connsiteX116" fmla="*/ 690261 w 5137844"/>
              <a:gd name="connsiteY116" fmla="*/ 230339 h 2523948"/>
              <a:gd name="connsiteX117" fmla="*/ 162467 w 5137844"/>
              <a:gd name="connsiteY117" fmla="*/ 1145043 h 2523948"/>
              <a:gd name="connsiteX118" fmla="*/ 135606 w 5137844"/>
              <a:gd name="connsiteY118" fmla="*/ 1261974 h 2523948"/>
              <a:gd name="connsiteX119" fmla="*/ 0 w 5137844"/>
              <a:gd name="connsiteY119" fmla="*/ 1261974 h 2523948"/>
              <a:gd name="connsiteX120" fmla="*/ 29513 w 5137844"/>
              <a:gd name="connsiteY120" fmla="*/ 1133497 h 2523948"/>
              <a:gd name="connsiteX121" fmla="*/ 609420 w 5137844"/>
              <a:gd name="connsiteY121" fmla="*/ 128477 h 2523948"/>
              <a:gd name="connsiteX122" fmla="*/ 833098 w 5137844"/>
              <a:gd name="connsiteY122" fmla="*/ 0 h 2523948"/>
              <a:gd name="connsiteX123" fmla="*/ 1974790 w 5137844"/>
              <a:gd name="connsiteY123" fmla="*/ 0 h 2523948"/>
              <a:gd name="connsiteX124" fmla="*/ 1976098 w 5137844"/>
              <a:gd name="connsiteY124" fmla="*/ 0 h 2523948"/>
              <a:gd name="connsiteX125" fmla="*/ 1990647 w 5137844"/>
              <a:gd name="connsiteY125" fmla="*/ 0 h 2523948"/>
              <a:gd name="connsiteX126" fmla="*/ 1992912 w 5137844"/>
              <a:gd name="connsiteY126" fmla="*/ 0 h 2523948"/>
              <a:gd name="connsiteX127" fmla="*/ 2000379 w 5137844"/>
              <a:gd name="connsiteY127" fmla="*/ 0 h 2523948"/>
              <a:gd name="connsiteX128" fmla="*/ 2180255 w 5137844"/>
              <a:gd name="connsiteY128" fmla="*/ 0 h 2523948"/>
              <a:gd name="connsiteX129" fmla="*/ 2204536 w 5137844"/>
              <a:gd name="connsiteY129" fmla="*/ 0 h 2523948"/>
              <a:gd name="connsiteX130" fmla="*/ 2358928 w 5137844"/>
              <a:gd name="connsiteY130" fmla="*/ 0 h 2523948"/>
              <a:gd name="connsiteX131" fmla="*/ 2383208 w 5137844"/>
              <a:gd name="connsiteY131" fmla="*/ 0 h 2523948"/>
              <a:gd name="connsiteX132" fmla="*/ 2513815 w 5137844"/>
              <a:gd name="connsiteY132" fmla="*/ 0 h 2523948"/>
              <a:gd name="connsiteX133" fmla="*/ 2538095 w 5137844"/>
              <a:gd name="connsiteY133" fmla="*/ 0 h 2523948"/>
              <a:gd name="connsiteX134" fmla="*/ 2646616 w 5137844"/>
              <a:gd name="connsiteY134" fmla="*/ 0 h 2523948"/>
              <a:gd name="connsiteX135" fmla="*/ 2670896 w 5137844"/>
              <a:gd name="connsiteY135" fmla="*/ 0 h 2523948"/>
              <a:gd name="connsiteX136" fmla="*/ 2759029 w 5137844"/>
              <a:gd name="connsiteY136" fmla="*/ 0 h 2523948"/>
              <a:gd name="connsiteX137" fmla="*/ 2783310 w 5137844"/>
              <a:gd name="connsiteY137" fmla="*/ 0 h 2523948"/>
              <a:gd name="connsiteX138" fmla="*/ 2852754 w 5137844"/>
              <a:gd name="connsiteY138" fmla="*/ 0 h 2523948"/>
              <a:gd name="connsiteX139" fmla="*/ 2877035 w 5137844"/>
              <a:gd name="connsiteY139" fmla="*/ 0 h 2523948"/>
              <a:gd name="connsiteX140" fmla="*/ 2929490 w 5137844"/>
              <a:gd name="connsiteY140" fmla="*/ 0 h 2523948"/>
              <a:gd name="connsiteX141" fmla="*/ 2953771 w 5137844"/>
              <a:gd name="connsiteY141" fmla="*/ 0 h 2523948"/>
              <a:gd name="connsiteX142" fmla="*/ 2990936 w 5137844"/>
              <a:gd name="connsiteY142" fmla="*/ 0 h 2523948"/>
              <a:gd name="connsiteX143" fmla="*/ 3015216 w 5137844"/>
              <a:gd name="connsiteY143" fmla="*/ 0 h 2523948"/>
              <a:gd name="connsiteX144" fmla="*/ 3074750 w 5137844"/>
              <a:gd name="connsiteY144" fmla="*/ 0 h 2523948"/>
              <a:gd name="connsiteX145" fmla="*/ 3099031 w 5137844"/>
              <a:gd name="connsiteY145" fmla="*/ 0 h 2523948"/>
              <a:gd name="connsiteX146" fmla="*/ 3117790 w 5137844"/>
              <a:gd name="connsiteY146" fmla="*/ 0 h 2523948"/>
              <a:gd name="connsiteX147" fmla="*/ 3135912 w 5137844"/>
              <a:gd name="connsiteY147" fmla="*/ 0 h 2523948"/>
              <a:gd name="connsiteX148" fmla="*/ 3142071 w 5137844"/>
              <a:gd name="connsiteY148" fmla="*/ 0 h 2523948"/>
              <a:gd name="connsiteX149" fmla="*/ 3143379 w 5137844"/>
              <a:gd name="connsiteY149" fmla="*/ 0 h 2523948"/>
              <a:gd name="connsiteX150" fmla="*/ 3157927 w 5137844"/>
              <a:gd name="connsiteY150" fmla="*/ 0 h 2523948"/>
              <a:gd name="connsiteX151" fmla="*/ 3160193 w 5137844"/>
              <a:gd name="connsiteY151" fmla="*/ 0 h 2523948"/>
              <a:gd name="connsiteX152" fmla="*/ 3347536 w 5137844"/>
              <a:gd name="connsiteY152" fmla="*/ 0 h 2523948"/>
              <a:gd name="connsiteX153" fmla="*/ 4303193 w 5137844"/>
              <a:gd name="connsiteY153" fmla="*/ 0 h 2523948"/>
              <a:gd name="connsiteX154" fmla="*/ 4526872 w 5137844"/>
              <a:gd name="connsiteY154" fmla="*/ 128477 h 2523948"/>
              <a:gd name="connsiteX155" fmla="*/ 5106779 w 5137844"/>
              <a:gd name="connsiteY155" fmla="*/ 1133497 h 2523948"/>
              <a:gd name="connsiteX156" fmla="*/ 5106779 w 5137844"/>
              <a:gd name="connsiteY156" fmla="*/ 1390451 h 2523948"/>
              <a:gd name="connsiteX157" fmla="*/ 4526872 w 5137844"/>
              <a:gd name="connsiteY157" fmla="*/ 2395471 h 2523948"/>
              <a:gd name="connsiteX158" fmla="*/ 4303193 w 5137844"/>
              <a:gd name="connsiteY158" fmla="*/ 2523948 h 2523948"/>
              <a:gd name="connsiteX159" fmla="*/ 3160193 w 5137844"/>
              <a:gd name="connsiteY159" fmla="*/ 2523948 h 2523948"/>
              <a:gd name="connsiteX160" fmla="*/ 3143379 w 5137844"/>
              <a:gd name="connsiteY160" fmla="*/ 2523948 h 2523948"/>
              <a:gd name="connsiteX161" fmla="*/ 3135912 w 5137844"/>
              <a:gd name="connsiteY161" fmla="*/ 2523948 h 2523948"/>
              <a:gd name="connsiteX162" fmla="*/ 2000379 w 5137844"/>
              <a:gd name="connsiteY162" fmla="*/ 2523948 h 2523948"/>
              <a:gd name="connsiteX163" fmla="*/ 1992912 w 5137844"/>
              <a:gd name="connsiteY163" fmla="*/ 2523948 h 2523948"/>
              <a:gd name="connsiteX164" fmla="*/ 1976098 w 5137844"/>
              <a:gd name="connsiteY164" fmla="*/ 2523948 h 2523948"/>
              <a:gd name="connsiteX165" fmla="*/ 833098 w 5137844"/>
              <a:gd name="connsiteY165" fmla="*/ 2523948 h 2523948"/>
              <a:gd name="connsiteX166" fmla="*/ 609420 w 5137844"/>
              <a:gd name="connsiteY166" fmla="*/ 2395471 h 2523948"/>
              <a:gd name="connsiteX167" fmla="*/ 29513 w 5137844"/>
              <a:gd name="connsiteY167" fmla="*/ 1390451 h 2523948"/>
              <a:gd name="connsiteX168" fmla="*/ 0 w 5137844"/>
              <a:gd name="connsiteY168" fmla="*/ 1261974 h 2523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5137844" h="2523948">
                <a:moveTo>
                  <a:pt x="135606" y="1261974"/>
                </a:moveTo>
                <a:cubicBezTo>
                  <a:pt x="135606" y="1304409"/>
                  <a:pt x="144559" y="1346843"/>
                  <a:pt x="162467" y="1378906"/>
                </a:cubicBezTo>
                <a:cubicBezTo>
                  <a:pt x="162467" y="1378906"/>
                  <a:pt x="162467" y="1378906"/>
                  <a:pt x="690261" y="2293610"/>
                </a:cubicBezTo>
                <a:cubicBezTo>
                  <a:pt x="727960" y="2357733"/>
                  <a:pt x="820324" y="2410541"/>
                  <a:pt x="893838" y="2410541"/>
                </a:cubicBezTo>
                <a:lnTo>
                  <a:pt x="1084338" y="2410541"/>
                </a:lnTo>
                <a:lnTo>
                  <a:pt x="1934122" y="2410541"/>
                </a:lnTo>
                <a:lnTo>
                  <a:pt x="1949425" y="2410541"/>
                </a:lnTo>
                <a:lnTo>
                  <a:pt x="1956221" y="2410541"/>
                </a:lnTo>
                <a:lnTo>
                  <a:pt x="2124622" y="2410541"/>
                </a:lnTo>
                <a:lnTo>
                  <a:pt x="2139925" y="2410541"/>
                </a:lnTo>
                <a:lnTo>
                  <a:pt x="2146721" y="2410541"/>
                </a:lnTo>
                <a:lnTo>
                  <a:pt x="2989710" y="2410541"/>
                </a:lnTo>
                <a:lnTo>
                  <a:pt x="2996506" y="2410541"/>
                </a:lnTo>
                <a:lnTo>
                  <a:pt x="3011809" y="2410541"/>
                </a:lnTo>
                <a:lnTo>
                  <a:pt x="3180210" y="2410541"/>
                </a:lnTo>
                <a:lnTo>
                  <a:pt x="3187006" y="2410541"/>
                </a:lnTo>
                <a:lnTo>
                  <a:pt x="3202309" y="2410541"/>
                </a:lnTo>
                <a:lnTo>
                  <a:pt x="4052093" y="2410541"/>
                </a:lnTo>
                <a:lnTo>
                  <a:pt x="4242593" y="2410541"/>
                </a:lnTo>
                <a:cubicBezTo>
                  <a:pt x="4317992" y="2410541"/>
                  <a:pt x="4408471" y="2357733"/>
                  <a:pt x="4446171" y="2293610"/>
                </a:cubicBezTo>
                <a:cubicBezTo>
                  <a:pt x="4446171" y="2293610"/>
                  <a:pt x="4446171" y="2293610"/>
                  <a:pt x="4973965" y="1378906"/>
                </a:cubicBezTo>
                <a:cubicBezTo>
                  <a:pt x="5011664" y="1314782"/>
                  <a:pt x="5011664" y="1209166"/>
                  <a:pt x="4973965" y="1145043"/>
                </a:cubicBezTo>
                <a:cubicBezTo>
                  <a:pt x="4973965" y="1145043"/>
                  <a:pt x="4973965" y="1145043"/>
                  <a:pt x="4446171" y="230339"/>
                </a:cubicBezTo>
                <a:cubicBezTo>
                  <a:pt x="4408471" y="166215"/>
                  <a:pt x="4317992" y="113407"/>
                  <a:pt x="4242593" y="113407"/>
                </a:cubicBezTo>
                <a:cubicBezTo>
                  <a:pt x="4242593" y="113407"/>
                  <a:pt x="4242593" y="113407"/>
                  <a:pt x="4133871" y="113407"/>
                </a:cubicBezTo>
                <a:lnTo>
                  <a:pt x="4052093" y="113407"/>
                </a:lnTo>
                <a:lnTo>
                  <a:pt x="4050394" y="113407"/>
                </a:lnTo>
                <a:lnTo>
                  <a:pt x="4038503" y="113407"/>
                </a:lnTo>
                <a:lnTo>
                  <a:pt x="4030245" y="113407"/>
                </a:lnTo>
                <a:lnTo>
                  <a:pt x="4006226" y="113407"/>
                </a:lnTo>
                <a:lnTo>
                  <a:pt x="3943371" y="113407"/>
                </a:lnTo>
                <a:lnTo>
                  <a:pt x="3875656" y="113407"/>
                </a:lnTo>
                <a:lnTo>
                  <a:pt x="3839745" y="113407"/>
                </a:lnTo>
                <a:lnTo>
                  <a:pt x="3776065" y="113407"/>
                </a:lnTo>
                <a:lnTo>
                  <a:pt x="3685156" y="113407"/>
                </a:lnTo>
                <a:lnTo>
                  <a:pt x="3659911" y="113407"/>
                </a:lnTo>
                <a:lnTo>
                  <a:pt x="3585565" y="113407"/>
                </a:lnTo>
                <a:lnTo>
                  <a:pt x="3525919" y="113407"/>
                </a:lnTo>
                <a:lnTo>
                  <a:pt x="3469411" y="113407"/>
                </a:lnTo>
                <a:lnTo>
                  <a:pt x="3372816" y="113407"/>
                </a:lnTo>
                <a:lnTo>
                  <a:pt x="3335419" y="113407"/>
                </a:lnTo>
                <a:lnTo>
                  <a:pt x="3202309" y="113407"/>
                </a:lnTo>
                <a:lnTo>
                  <a:pt x="3200246" y="113407"/>
                </a:lnTo>
                <a:lnTo>
                  <a:pt x="3187006" y="113407"/>
                </a:lnTo>
                <a:lnTo>
                  <a:pt x="3185815" y="113407"/>
                </a:lnTo>
                <a:lnTo>
                  <a:pt x="3182316" y="113407"/>
                </a:lnTo>
                <a:lnTo>
                  <a:pt x="3180210" y="113407"/>
                </a:lnTo>
                <a:cubicBezTo>
                  <a:pt x="3180210" y="113407"/>
                  <a:pt x="3180210" y="113407"/>
                  <a:pt x="3163716" y="113407"/>
                </a:cubicBezTo>
                <a:lnTo>
                  <a:pt x="3146643" y="113407"/>
                </a:lnTo>
                <a:lnTo>
                  <a:pt x="3124544" y="113407"/>
                </a:lnTo>
                <a:lnTo>
                  <a:pt x="3070360" y="113407"/>
                </a:lnTo>
                <a:lnTo>
                  <a:pt x="3048262" y="113407"/>
                </a:lnTo>
                <a:lnTo>
                  <a:pt x="3014437" y="113407"/>
                </a:lnTo>
                <a:lnTo>
                  <a:pt x="3011809" y="113407"/>
                </a:lnTo>
                <a:lnTo>
                  <a:pt x="3009746" y="113407"/>
                </a:lnTo>
                <a:lnTo>
                  <a:pt x="2996506" y="113407"/>
                </a:lnTo>
                <a:lnTo>
                  <a:pt x="2995315" y="113407"/>
                </a:lnTo>
                <a:lnTo>
                  <a:pt x="2992338" y="113407"/>
                </a:lnTo>
                <a:lnTo>
                  <a:pt x="2989710" y="113407"/>
                </a:lnTo>
                <a:lnTo>
                  <a:pt x="2987648" y="113407"/>
                </a:lnTo>
                <a:lnTo>
                  <a:pt x="2973216" y="113407"/>
                </a:lnTo>
                <a:lnTo>
                  <a:pt x="2956143" y="113407"/>
                </a:lnTo>
                <a:lnTo>
                  <a:pt x="2944597" y="113407"/>
                </a:lnTo>
                <a:lnTo>
                  <a:pt x="2934044" y="113407"/>
                </a:lnTo>
                <a:lnTo>
                  <a:pt x="2922498" y="113407"/>
                </a:lnTo>
                <a:lnTo>
                  <a:pt x="2879860" y="113407"/>
                </a:lnTo>
                <a:lnTo>
                  <a:pt x="2859294" y="113407"/>
                </a:lnTo>
                <a:lnTo>
                  <a:pt x="2857762" y="113407"/>
                </a:lnTo>
                <a:lnTo>
                  <a:pt x="2837195" y="113407"/>
                </a:lnTo>
                <a:lnTo>
                  <a:pt x="2823937" y="113407"/>
                </a:lnTo>
                <a:lnTo>
                  <a:pt x="2801838" y="113407"/>
                </a:lnTo>
                <a:lnTo>
                  <a:pt x="2756982" y="113407"/>
                </a:lnTo>
                <a:lnTo>
                  <a:pt x="2754097" y="113407"/>
                </a:lnTo>
                <a:lnTo>
                  <a:pt x="2734884" y="113407"/>
                </a:lnTo>
                <a:lnTo>
                  <a:pt x="2731998" y="113407"/>
                </a:lnTo>
                <a:lnTo>
                  <a:pt x="2668794" y="113407"/>
                </a:lnTo>
                <a:lnTo>
                  <a:pt x="2646695" y="113407"/>
                </a:lnTo>
                <a:lnTo>
                  <a:pt x="2636115" y="113407"/>
                </a:lnTo>
                <a:lnTo>
                  <a:pt x="2614017" y="113407"/>
                </a:lnTo>
                <a:lnTo>
                  <a:pt x="2566482" y="113407"/>
                </a:lnTo>
                <a:lnTo>
                  <a:pt x="2544384" y="113407"/>
                </a:lnTo>
                <a:lnTo>
                  <a:pt x="2495147" y="113407"/>
                </a:lnTo>
                <a:lnTo>
                  <a:pt x="2473049" y="113407"/>
                </a:lnTo>
                <a:lnTo>
                  <a:pt x="2445615" y="113407"/>
                </a:lnTo>
                <a:lnTo>
                  <a:pt x="2423517" y="113407"/>
                </a:lnTo>
                <a:lnTo>
                  <a:pt x="2332532" y="113407"/>
                </a:lnTo>
                <a:lnTo>
                  <a:pt x="2310433" y="113407"/>
                </a:lnTo>
                <a:lnTo>
                  <a:pt x="2304647" y="113407"/>
                </a:lnTo>
                <a:lnTo>
                  <a:pt x="2282549" y="113407"/>
                </a:lnTo>
                <a:lnTo>
                  <a:pt x="2146721" y="113407"/>
                </a:lnTo>
                <a:lnTo>
                  <a:pt x="2142032" y="113407"/>
                </a:lnTo>
                <a:lnTo>
                  <a:pt x="2139925" y="113407"/>
                </a:lnTo>
                <a:lnTo>
                  <a:pt x="2137864" y="113407"/>
                </a:lnTo>
                <a:lnTo>
                  <a:pt x="2124622" y="113407"/>
                </a:lnTo>
                <a:lnTo>
                  <a:pt x="2123432" y="113407"/>
                </a:lnTo>
                <a:lnTo>
                  <a:pt x="2119933" y="113407"/>
                </a:lnTo>
                <a:lnTo>
                  <a:pt x="2097049" y="113407"/>
                </a:lnTo>
                <a:cubicBezTo>
                  <a:pt x="2073661" y="113407"/>
                  <a:pt x="2037517" y="113407"/>
                  <a:pt x="1981658" y="113407"/>
                </a:cubicBezTo>
                <a:lnTo>
                  <a:pt x="1956221" y="113407"/>
                </a:lnTo>
                <a:lnTo>
                  <a:pt x="1949425" y="113407"/>
                </a:lnTo>
                <a:lnTo>
                  <a:pt x="1947364" y="113407"/>
                </a:lnTo>
                <a:lnTo>
                  <a:pt x="1934122" y="113407"/>
                </a:lnTo>
                <a:lnTo>
                  <a:pt x="1932932" y="113407"/>
                </a:lnTo>
                <a:lnTo>
                  <a:pt x="1906549" y="113407"/>
                </a:lnTo>
                <a:lnTo>
                  <a:pt x="1882214" y="113407"/>
                </a:lnTo>
                <a:lnTo>
                  <a:pt x="1861030" y="113407"/>
                </a:lnTo>
                <a:lnTo>
                  <a:pt x="1791158" y="113407"/>
                </a:lnTo>
                <a:lnTo>
                  <a:pt x="1747978" y="113407"/>
                </a:lnTo>
                <a:lnTo>
                  <a:pt x="1691714" y="113407"/>
                </a:lnTo>
                <a:lnTo>
                  <a:pt x="1573733" y="113407"/>
                </a:lnTo>
                <a:lnTo>
                  <a:pt x="1557478" y="113407"/>
                </a:lnTo>
                <a:lnTo>
                  <a:pt x="1383233" y="113407"/>
                </a:lnTo>
                <a:lnTo>
                  <a:pt x="1354259" y="113407"/>
                </a:lnTo>
                <a:lnTo>
                  <a:pt x="1163759" y="113407"/>
                </a:lnTo>
                <a:lnTo>
                  <a:pt x="1084338" y="113407"/>
                </a:lnTo>
                <a:lnTo>
                  <a:pt x="893838" y="113407"/>
                </a:lnTo>
                <a:cubicBezTo>
                  <a:pt x="820324" y="113407"/>
                  <a:pt x="727960" y="166215"/>
                  <a:pt x="690261" y="230339"/>
                </a:cubicBezTo>
                <a:cubicBezTo>
                  <a:pt x="690261" y="230339"/>
                  <a:pt x="690261" y="230339"/>
                  <a:pt x="162467" y="1145043"/>
                </a:cubicBezTo>
                <a:cubicBezTo>
                  <a:pt x="144559" y="1177105"/>
                  <a:pt x="135606" y="1219539"/>
                  <a:pt x="135606" y="1261974"/>
                </a:cubicBezTo>
                <a:close/>
                <a:moveTo>
                  <a:pt x="0" y="1261974"/>
                </a:moveTo>
                <a:cubicBezTo>
                  <a:pt x="0" y="1215349"/>
                  <a:pt x="9837" y="1168725"/>
                  <a:pt x="29513" y="1133497"/>
                </a:cubicBezTo>
                <a:cubicBezTo>
                  <a:pt x="609420" y="128477"/>
                  <a:pt x="609420" y="128477"/>
                  <a:pt x="609420" y="128477"/>
                </a:cubicBezTo>
                <a:cubicBezTo>
                  <a:pt x="650842" y="58022"/>
                  <a:pt x="752325" y="0"/>
                  <a:pt x="833098" y="0"/>
                </a:cubicBezTo>
                <a:cubicBezTo>
                  <a:pt x="1702959" y="0"/>
                  <a:pt x="1920424" y="0"/>
                  <a:pt x="1974790" y="0"/>
                </a:cubicBezTo>
                <a:lnTo>
                  <a:pt x="1976098" y="0"/>
                </a:lnTo>
                <a:lnTo>
                  <a:pt x="1990647" y="0"/>
                </a:lnTo>
                <a:lnTo>
                  <a:pt x="1992912" y="0"/>
                </a:lnTo>
                <a:lnTo>
                  <a:pt x="2000379" y="0"/>
                </a:lnTo>
                <a:lnTo>
                  <a:pt x="2180255" y="0"/>
                </a:lnTo>
                <a:lnTo>
                  <a:pt x="2204536" y="0"/>
                </a:lnTo>
                <a:lnTo>
                  <a:pt x="2358928" y="0"/>
                </a:lnTo>
                <a:lnTo>
                  <a:pt x="2383208" y="0"/>
                </a:lnTo>
                <a:lnTo>
                  <a:pt x="2513815" y="0"/>
                </a:lnTo>
                <a:lnTo>
                  <a:pt x="2538095" y="0"/>
                </a:lnTo>
                <a:lnTo>
                  <a:pt x="2646616" y="0"/>
                </a:lnTo>
                <a:lnTo>
                  <a:pt x="2670896" y="0"/>
                </a:lnTo>
                <a:lnTo>
                  <a:pt x="2759029" y="0"/>
                </a:lnTo>
                <a:lnTo>
                  <a:pt x="2783310" y="0"/>
                </a:lnTo>
                <a:lnTo>
                  <a:pt x="2852754" y="0"/>
                </a:lnTo>
                <a:lnTo>
                  <a:pt x="2877035" y="0"/>
                </a:lnTo>
                <a:lnTo>
                  <a:pt x="2929490" y="0"/>
                </a:lnTo>
                <a:lnTo>
                  <a:pt x="2953771" y="0"/>
                </a:lnTo>
                <a:lnTo>
                  <a:pt x="2990936" y="0"/>
                </a:lnTo>
                <a:lnTo>
                  <a:pt x="3015216" y="0"/>
                </a:lnTo>
                <a:lnTo>
                  <a:pt x="3074750" y="0"/>
                </a:lnTo>
                <a:lnTo>
                  <a:pt x="3099031" y="0"/>
                </a:lnTo>
                <a:lnTo>
                  <a:pt x="3117790" y="0"/>
                </a:lnTo>
                <a:cubicBezTo>
                  <a:pt x="3135912" y="0"/>
                  <a:pt x="3135912" y="0"/>
                  <a:pt x="3135912" y="0"/>
                </a:cubicBezTo>
                <a:lnTo>
                  <a:pt x="3142071" y="0"/>
                </a:lnTo>
                <a:lnTo>
                  <a:pt x="3143379" y="0"/>
                </a:lnTo>
                <a:lnTo>
                  <a:pt x="3157927" y="0"/>
                </a:lnTo>
                <a:lnTo>
                  <a:pt x="3160193" y="0"/>
                </a:lnTo>
                <a:lnTo>
                  <a:pt x="3347536" y="0"/>
                </a:lnTo>
                <a:cubicBezTo>
                  <a:pt x="4303193" y="0"/>
                  <a:pt x="4303193" y="0"/>
                  <a:pt x="4303193" y="0"/>
                </a:cubicBezTo>
                <a:cubicBezTo>
                  <a:pt x="4386037" y="0"/>
                  <a:pt x="4485449" y="58022"/>
                  <a:pt x="4526872" y="128477"/>
                </a:cubicBezTo>
                <a:cubicBezTo>
                  <a:pt x="5106779" y="1133497"/>
                  <a:pt x="5106779" y="1133497"/>
                  <a:pt x="5106779" y="1133497"/>
                </a:cubicBezTo>
                <a:cubicBezTo>
                  <a:pt x="5148200" y="1203952"/>
                  <a:pt x="5148200" y="1319996"/>
                  <a:pt x="5106779" y="1390451"/>
                </a:cubicBezTo>
                <a:cubicBezTo>
                  <a:pt x="4526872" y="2395471"/>
                  <a:pt x="4526872" y="2395471"/>
                  <a:pt x="4526872" y="2395471"/>
                </a:cubicBezTo>
                <a:cubicBezTo>
                  <a:pt x="4485449" y="2465926"/>
                  <a:pt x="4386037" y="2523948"/>
                  <a:pt x="4303193" y="2523948"/>
                </a:cubicBezTo>
                <a:lnTo>
                  <a:pt x="3160193" y="2523948"/>
                </a:lnTo>
                <a:lnTo>
                  <a:pt x="3143379" y="2523948"/>
                </a:lnTo>
                <a:lnTo>
                  <a:pt x="3135912" y="2523948"/>
                </a:lnTo>
                <a:lnTo>
                  <a:pt x="2000379" y="2523948"/>
                </a:lnTo>
                <a:lnTo>
                  <a:pt x="1992912" y="2523948"/>
                </a:lnTo>
                <a:lnTo>
                  <a:pt x="1976098" y="2523948"/>
                </a:lnTo>
                <a:lnTo>
                  <a:pt x="833098" y="2523948"/>
                </a:lnTo>
                <a:cubicBezTo>
                  <a:pt x="752325" y="2523948"/>
                  <a:pt x="650842" y="2465926"/>
                  <a:pt x="609420" y="2395471"/>
                </a:cubicBezTo>
                <a:cubicBezTo>
                  <a:pt x="29513" y="1390451"/>
                  <a:pt x="29513" y="1390451"/>
                  <a:pt x="29513" y="1390451"/>
                </a:cubicBezTo>
                <a:cubicBezTo>
                  <a:pt x="9837" y="1355223"/>
                  <a:pt x="0" y="1308599"/>
                  <a:pt x="0" y="1261974"/>
                </a:cubicBezTo>
                <a:close/>
              </a:path>
            </a:pathLst>
          </a:custGeom>
          <a:solidFill>
            <a:srgbClr val="02919F"/>
          </a:solidFill>
          <a:ln w="25400">
            <a:solidFill>
              <a:srgbClr val="02919F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 sz="2000">
              <a:solidFill>
                <a:prstClr val="black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2" name="任意多边形 70"/>
          <p:cNvSpPr>
            <a:spLocks/>
          </p:cNvSpPr>
          <p:nvPr/>
        </p:nvSpPr>
        <p:spPr bwMode="auto">
          <a:xfrm rot="5400000">
            <a:off x="7964355" y="1685987"/>
            <a:ext cx="2273437" cy="1760195"/>
          </a:xfrm>
          <a:custGeom>
            <a:avLst/>
            <a:gdLst>
              <a:gd name="connsiteX0" fmla="*/ 135606 w 5137844"/>
              <a:gd name="connsiteY0" fmla="*/ 1261974 h 2523948"/>
              <a:gd name="connsiteX1" fmla="*/ 162467 w 5137844"/>
              <a:gd name="connsiteY1" fmla="*/ 1378906 h 2523948"/>
              <a:gd name="connsiteX2" fmla="*/ 690261 w 5137844"/>
              <a:gd name="connsiteY2" fmla="*/ 2293610 h 2523948"/>
              <a:gd name="connsiteX3" fmla="*/ 893838 w 5137844"/>
              <a:gd name="connsiteY3" fmla="*/ 2410541 h 2523948"/>
              <a:gd name="connsiteX4" fmla="*/ 1084338 w 5137844"/>
              <a:gd name="connsiteY4" fmla="*/ 2410541 h 2523948"/>
              <a:gd name="connsiteX5" fmla="*/ 1934122 w 5137844"/>
              <a:gd name="connsiteY5" fmla="*/ 2410541 h 2523948"/>
              <a:gd name="connsiteX6" fmla="*/ 1949425 w 5137844"/>
              <a:gd name="connsiteY6" fmla="*/ 2410541 h 2523948"/>
              <a:gd name="connsiteX7" fmla="*/ 1956221 w 5137844"/>
              <a:gd name="connsiteY7" fmla="*/ 2410541 h 2523948"/>
              <a:gd name="connsiteX8" fmla="*/ 2124622 w 5137844"/>
              <a:gd name="connsiteY8" fmla="*/ 2410541 h 2523948"/>
              <a:gd name="connsiteX9" fmla="*/ 2139925 w 5137844"/>
              <a:gd name="connsiteY9" fmla="*/ 2410541 h 2523948"/>
              <a:gd name="connsiteX10" fmla="*/ 2146721 w 5137844"/>
              <a:gd name="connsiteY10" fmla="*/ 2410541 h 2523948"/>
              <a:gd name="connsiteX11" fmla="*/ 2989710 w 5137844"/>
              <a:gd name="connsiteY11" fmla="*/ 2410541 h 2523948"/>
              <a:gd name="connsiteX12" fmla="*/ 2996506 w 5137844"/>
              <a:gd name="connsiteY12" fmla="*/ 2410541 h 2523948"/>
              <a:gd name="connsiteX13" fmla="*/ 3011809 w 5137844"/>
              <a:gd name="connsiteY13" fmla="*/ 2410541 h 2523948"/>
              <a:gd name="connsiteX14" fmla="*/ 3180210 w 5137844"/>
              <a:gd name="connsiteY14" fmla="*/ 2410541 h 2523948"/>
              <a:gd name="connsiteX15" fmla="*/ 3187006 w 5137844"/>
              <a:gd name="connsiteY15" fmla="*/ 2410541 h 2523948"/>
              <a:gd name="connsiteX16" fmla="*/ 3202309 w 5137844"/>
              <a:gd name="connsiteY16" fmla="*/ 2410541 h 2523948"/>
              <a:gd name="connsiteX17" fmla="*/ 4052093 w 5137844"/>
              <a:gd name="connsiteY17" fmla="*/ 2410541 h 2523948"/>
              <a:gd name="connsiteX18" fmla="*/ 4242593 w 5137844"/>
              <a:gd name="connsiteY18" fmla="*/ 2410541 h 2523948"/>
              <a:gd name="connsiteX19" fmla="*/ 4446171 w 5137844"/>
              <a:gd name="connsiteY19" fmla="*/ 2293610 h 2523948"/>
              <a:gd name="connsiteX20" fmla="*/ 4973965 w 5137844"/>
              <a:gd name="connsiteY20" fmla="*/ 1378906 h 2523948"/>
              <a:gd name="connsiteX21" fmla="*/ 4973965 w 5137844"/>
              <a:gd name="connsiteY21" fmla="*/ 1145043 h 2523948"/>
              <a:gd name="connsiteX22" fmla="*/ 4446171 w 5137844"/>
              <a:gd name="connsiteY22" fmla="*/ 230339 h 2523948"/>
              <a:gd name="connsiteX23" fmla="*/ 4242593 w 5137844"/>
              <a:gd name="connsiteY23" fmla="*/ 113407 h 2523948"/>
              <a:gd name="connsiteX24" fmla="*/ 4133871 w 5137844"/>
              <a:gd name="connsiteY24" fmla="*/ 113407 h 2523948"/>
              <a:gd name="connsiteX25" fmla="*/ 4052093 w 5137844"/>
              <a:gd name="connsiteY25" fmla="*/ 113407 h 2523948"/>
              <a:gd name="connsiteX26" fmla="*/ 4050394 w 5137844"/>
              <a:gd name="connsiteY26" fmla="*/ 113407 h 2523948"/>
              <a:gd name="connsiteX27" fmla="*/ 4038503 w 5137844"/>
              <a:gd name="connsiteY27" fmla="*/ 113407 h 2523948"/>
              <a:gd name="connsiteX28" fmla="*/ 4030245 w 5137844"/>
              <a:gd name="connsiteY28" fmla="*/ 113407 h 2523948"/>
              <a:gd name="connsiteX29" fmla="*/ 4006226 w 5137844"/>
              <a:gd name="connsiteY29" fmla="*/ 113407 h 2523948"/>
              <a:gd name="connsiteX30" fmla="*/ 3943371 w 5137844"/>
              <a:gd name="connsiteY30" fmla="*/ 113407 h 2523948"/>
              <a:gd name="connsiteX31" fmla="*/ 3875656 w 5137844"/>
              <a:gd name="connsiteY31" fmla="*/ 113407 h 2523948"/>
              <a:gd name="connsiteX32" fmla="*/ 3839745 w 5137844"/>
              <a:gd name="connsiteY32" fmla="*/ 113407 h 2523948"/>
              <a:gd name="connsiteX33" fmla="*/ 3776065 w 5137844"/>
              <a:gd name="connsiteY33" fmla="*/ 113407 h 2523948"/>
              <a:gd name="connsiteX34" fmla="*/ 3685156 w 5137844"/>
              <a:gd name="connsiteY34" fmla="*/ 113407 h 2523948"/>
              <a:gd name="connsiteX35" fmla="*/ 3659911 w 5137844"/>
              <a:gd name="connsiteY35" fmla="*/ 113407 h 2523948"/>
              <a:gd name="connsiteX36" fmla="*/ 3585565 w 5137844"/>
              <a:gd name="connsiteY36" fmla="*/ 113407 h 2523948"/>
              <a:gd name="connsiteX37" fmla="*/ 3525919 w 5137844"/>
              <a:gd name="connsiteY37" fmla="*/ 113407 h 2523948"/>
              <a:gd name="connsiteX38" fmla="*/ 3469411 w 5137844"/>
              <a:gd name="connsiteY38" fmla="*/ 113407 h 2523948"/>
              <a:gd name="connsiteX39" fmla="*/ 3372816 w 5137844"/>
              <a:gd name="connsiteY39" fmla="*/ 113407 h 2523948"/>
              <a:gd name="connsiteX40" fmla="*/ 3335419 w 5137844"/>
              <a:gd name="connsiteY40" fmla="*/ 113407 h 2523948"/>
              <a:gd name="connsiteX41" fmla="*/ 3202309 w 5137844"/>
              <a:gd name="connsiteY41" fmla="*/ 113407 h 2523948"/>
              <a:gd name="connsiteX42" fmla="*/ 3200246 w 5137844"/>
              <a:gd name="connsiteY42" fmla="*/ 113407 h 2523948"/>
              <a:gd name="connsiteX43" fmla="*/ 3187006 w 5137844"/>
              <a:gd name="connsiteY43" fmla="*/ 113407 h 2523948"/>
              <a:gd name="connsiteX44" fmla="*/ 3185815 w 5137844"/>
              <a:gd name="connsiteY44" fmla="*/ 113407 h 2523948"/>
              <a:gd name="connsiteX45" fmla="*/ 3182316 w 5137844"/>
              <a:gd name="connsiteY45" fmla="*/ 113407 h 2523948"/>
              <a:gd name="connsiteX46" fmla="*/ 3180210 w 5137844"/>
              <a:gd name="connsiteY46" fmla="*/ 113407 h 2523948"/>
              <a:gd name="connsiteX47" fmla="*/ 3163716 w 5137844"/>
              <a:gd name="connsiteY47" fmla="*/ 113407 h 2523948"/>
              <a:gd name="connsiteX48" fmla="*/ 3146643 w 5137844"/>
              <a:gd name="connsiteY48" fmla="*/ 113407 h 2523948"/>
              <a:gd name="connsiteX49" fmla="*/ 3124544 w 5137844"/>
              <a:gd name="connsiteY49" fmla="*/ 113407 h 2523948"/>
              <a:gd name="connsiteX50" fmla="*/ 3070360 w 5137844"/>
              <a:gd name="connsiteY50" fmla="*/ 113407 h 2523948"/>
              <a:gd name="connsiteX51" fmla="*/ 3048262 w 5137844"/>
              <a:gd name="connsiteY51" fmla="*/ 113407 h 2523948"/>
              <a:gd name="connsiteX52" fmla="*/ 3014437 w 5137844"/>
              <a:gd name="connsiteY52" fmla="*/ 113407 h 2523948"/>
              <a:gd name="connsiteX53" fmla="*/ 3011809 w 5137844"/>
              <a:gd name="connsiteY53" fmla="*/ 113407 h 2523948"/>
              <a:gd name="connsiteX54" fmla="*/ 3009746 w 5137844"/>
              <a:gd name="connsiteY54" fmla="*/ 113407 h 2523948"/>
              <a:gd name="connsiteX55" fmla="*/ 2996506 w 5137844"/>
              <a:gd name="connsiteY55" fmla="*/ 113407 h 2523948"/>
              <a:gd name="connsiteX56" fmla="*/ 2995315 w 5137844"/>
              <a:gd name="connsiteY56" fmla="*/ 113407 h 2523948"/>
              <a:gd name="connsiteX57" fmla="*/ 2992338 w 5137844"/>
              <a:gd name="connsiteY57" fmla="*/ 113407 h 2523948"/>
              <a:gd name="connsiteX58" fmla="*/ 2989710 w 5137844"/>
              <a:gd name="connsiteY58" fmla="*/ 113407 h 2523948"/>
              <a:gd name="connsiteX59" fmla="*/ 2987648 w 5137844"/>
              <a:gd name="connsiteY59" fmla="*/ 113407 h 2523948"/>
              <a:gd name="connsiteX60" fmla="*/ 2973216 w 5137844"/>
              <a:gd name="connsiteY60" fmla="*/ 113407 h 2523948"/>
              <a:gd name="connsiteX61" fmla="*/ 2956143 w 5137844"/>
              <a:gd name="connsiteY61" fmla="*/ 113407 h 2523948"/>
              <a:gd name="connsiteX62" fmla="*/ 2944597 w 5137844"/>
              <a:gd name="connsiteY62" fmla="*/ 113407 h 2523948"/>
              <a:gd name="connsiteX63" fmla="*/ 2934044 w 5137844"/>
              <a:gd name="connsiteY63" fmla="*/ 113407 h 2523948"/>
              <a:gd name="connsiteX64" fmla="*/ 2922498 w 5137844"/>
              <a:gd name="connsiteY64" fmla="*/ 113407 h 2523948"/>
              <a:gd name="connsiteX65" fmla="*/ 2879860 w 5137844"/>
              <a:gd name="connsiteY65" fmla="*/ 113407 h 2523948"/>
              <a:gd name="connsiteX66" fmla="*/ 2859294 w 5137844"/>
              <a:gd name="connsiteY66" fmla="*/ 113407 h 2523948"/>
              <a:gd name="connsiteX67" fmla="*/ 2857762 w 5137844"/>
              <a:gd name="connsiteY67" fmla="*/ 113407 h 2523948"/>
              <a:gd name="connsiteX68" fmla="*/ 2837195 w 5137844"/>
              <a:gd name="connsiteY68" fmla="*/ 113407 h 2523948"/>
              <a:gd name="connsiteX69" fmla="*/ 2823937 w 5137844"/>
              <a:gd name="connsiteY69" fmla="*/ 113407 h 2523948"/>
              <a:gd name="connsiteX70" fmla="*/ 2801838 w 5137844"/>
              <a:gd name="connsiteY70" fmla="*/ 113407 h 2523948"/>
              <a:gd name="connsiteX71" fmla="*/ 2756982 w 5137844"/>
              <a:gd name="connsiteY71" fmla="*/ 113407 h 2523948"/>
              <a:gd name="connsiteX72" fmla="*/ 2754097 w 5137844"/>
              <a:gd name="connsiteY72" fmla="*/ 113407 h 2523948"/>
              <a:gd name="connsiteX73" fmla="*/ 2734884 w 5137844"/>
              <a:gd name="connsiteY73" fmla="*/ 113407 h 2523948"/>
              <a:gd name="connsiteX74" fmla="*/ 2731998 w 5137844"/>
              <a:gd name="connsiteY74" fmla="*/ 113407 h 2523948"/>
              <a:gd name="connsiteX75" fmla="*/ 2668794 w 5137844"/>
              <a:gd name="connsiteY75" fmla="*/ 113407 h 2523948"/>
              <a:gd name="connsiteX76" fmla="*/ 2646695 w 5137844"/>
              <a:gd name="connsiteY76" fmla="*/ 113407 h 2523948"/>
              <a:gd name="connsiteX77" fmla="*/ 2636115 w 5137844"/>
              <a:gd name="connsiteY77" fmla="*/ 113407 h 2523948"/>
              <a:gd name="connsiteX78" fmla="*/ 2614017 w 5137844"/>
              <a:gd name="connsiteY78" fmla="*/ 113407 h 2523948"/>
              <a:gd name="connsiteX79" fmla="*/ 2566482 w 5137844"/>
              <a:gd name="connsiteY79" fmla="*/ 113407 h 2523948"/>
              <a:gd name="connsiteX80" fmla="*/ 2544384 w 5137844"/>
              <a:gd name="connsiteY80" fmla="*/ 113407 h 2523948"/>
              <a:gd name="connsiteX81" fmla="*/ 2495147 w 5137844"/>
              <a:gd name="connsiteY81" fmla="*/ 113407 h 2523948"/>
              <a:gd name="connsiteX82" fmla="*/ 2473049 w 5137844"/>
              <a:gd name="connsiteY82" fmla="*/ 113407 h 2523948"/>
              <a:gd name="connsiteX83" fmla="*/ 2445615 w 5137844"/>
              <a:gd name="connsiteY83" fmla="*/ 113407 h 2523948"/>
              <a:gd name="connsiteX84" fmla="*/ 2423517 w 5137844"/>
              <a:gd name="connsiteY84" fmla="*/ 113407 h 2523948"/>
              <a:gd name="connsiteX85" fmla="*/ 2332532 w 5137844"/>
              <a:gd name="connsiteY85" fmla="*/ 113407 h 2523948"/>
              <a:gd name="connsiteX86" fmla="*/ 2310433 w 5137844"/>
              <a:gd name="connsiteY86" fmla="*/ 113407 h 2523948"/>
              <a:gd name="connsiteX87" fmla="*/ 2304647 w 5137844"/>
              <a:gd name="connsiteY87" fmla="*/ 113407 h 2523948"/>
              <a:gd name="connsiteX88" fmla="*/ 2282549 w 5137844"/>
              <a:gd name="connsiteY88" fmla="*/ 113407 h 2523948"/>
              <a:gd name="connsiteX89" fmla="*/ 2146721 w 5137844"/>
              <a:gd name="connsiteY89" fmla="*/ 113407 h 2523948"/>
              <a:gd name="connsiteX90" fmla="*/ 2142032 w 5137844"/>
              <a:gd name="connsiteY90" fmla="*/ 113407 h 2523948"/>
              <a:gd name="connsiteX91" fmla="*/ 2139925 w 5137844"/>
              <a:gd name="connsiteY91" fmla="*/ 113407 h 2523948"/>
              <a:gd name="connsiteX92" fmla="*/ 2137864 w 5137844"/>
              <a:gd name="connsiteY92" fmla="*/ 113407 h 2523948"/>
              <a:gd name="connsiteX93" fmla="*/ 2124622 w 5137844"/>
              <a:gd name="connsiteY93" fmla="*/ 113407 h 2523948"/>
              <a:gd name="connsiteX94" fmla="*/ 2123432 w 5137844"/>
              <a:gd name="connsiteY94" fmla="*/ 113407 h 2523948"/>
              <a:gd name="connsiteX95" fmla="*/ 2119933 w 5137844"/>
              <a:gd name="connsiteY95" fmla="*/ 113407 h 2523948"/>
              <a:gd name="connsiteX96" fmla="*/ 2097049 w 5137844"/>
              <a:gd name="connsiteY96" fmla="*/ 113407 h 2523948"/>
              <a:gd name="connsiteX97" fmla="*/ 1981658 w 5137844"/>
              <a:gd name="connsiteY97" fmla="*/ 113407 h 2523948"/>
              <a:gd name="connsiteX98" fmla="*/ 1956221 w 5137844"/>
              <a:gd name="connsiteY98" fmla="*/ 113407 h 2523948"/>
              <a:gd name="connsiteX99" fmla="*/ 1949425 w 5137844"/>
              <a:gd name="connsiteY99" fmla="*/ 113407 h 2523948"/>
              <a:gd name="connsiteX100" fmla="*/ 1947364 w 5137844"/>
              <a:gd name="connsiteY100" fmla="*/ 113407 h 2523948"/>
              <a:gd name="connsiteX101" fmla="*/ 1934122 w 5137844"/>
              <a:gd name="connsiteY101" fmla="*/ 113407 h 2523948"/>
              <a:gd name="connsiteX102" fmla="*/ 1932932 w 5137844"/>
              <a:gd name="connsiteY102" fmla="*/ 113407 h 2523948"/>
              <a:gd name="connsiteX103" fmla="*/ 1906549 w 5137844"/>
              <a:gd name="connsiteY103" fmla="*/ 113407 h 2523948"/>
              <a:gd name="connsiteX104" fmla="*/ 1882214 w 5137844"/>
              <a:gd name="connsiteY104" fmla="*/ 113407 h 2523948"/>
              <a:gd name="connsiteX105" fmla="*/ 1861030 w 5137844"/>
              <a:gd name="connsiteY105" fmla="*/ 113407 h 2523948"/>
              <a:gd name="connsiteX106" fmla="*/ 1791158 w 5137844"/>
              <a:gd name="connsiteY106" fmla="*/ 113407 h 2523948"/>
              <a:gd name="connsiteX107" fmla="*/ 1747978 w 5137844"/>
              <a:gd name="connsiteY107" fmla="*/ 113407 h 2523948"/>
              <a:gd name="connsiteX108" fmla="*/ 1691714 w 5137844"/>
              <a:gd name="connsiteY108" fmla="*/ 113407 h 2523948"/>
              <a:gd name="connsiteX109" fmla="*/ 1573733 w 5137844"/>
              <a:gd name="connsiteY109" fmla="*/ 113407 h 2523948"/>
              <a:gd name="connsiteX110" fmla="*/ 1557478 w 5137844"/>
              <a:gd name="connsiteY110" fmla="*/ 113407 h 2523948"/>
              <a:gd name="connsiteX111" fmla="*/ 1383233 w 5137844"/>
              <a:gd name="connsiteY111" fmla="*/ 113407 h 2523948"/>
              <a:gd name="connsiteX112" fmla="*/ 1354259 w 5137844"/>
              <a:gd name="connsiteY112" fmla="*/ 113407 h 2523948"/>
              <a:gd name="connsiteX113" fmla="*/ 1163759 w 5137844"/>
              <a:gd name="connsiteY113" fmla="*/ 113407 h 2523948"/>
              <a:gd name="connsiteX114" fmla="*/ 1084338 w 5137844"/>
              <a:gd name="connsiteY114" fmla="*/ 113407 h 2523948"/>
              <a:gd name="connsiteX115" fmla="*/ 893838 w 5137844"/>
              <a:gd name="connsiteY115" fmla="*/ 113407 h 2523948"/>
              <a:gd name="connsiteX116" fmla="*/ 690261 w 5137844"/>
              <a:gd name="connsiteY116" fmla="*/ 230339 h 2523948"/>
              <a:gd name="connsiteX117" fmla="*/ 162467 w 5137844"/>
              <a:gd name="connsiteY117" fmla="*/ 1145043 h 2523948"/>
              <a:gd name="connsiteX118" fmla="*/ 135606 w 5137844"/>
              <a:gd name="connsiteY118" fmla="*/ 1261974 h 2523948"/>
              <a:gd name="connsiteX119" fmla="*/ 0 w 5137844"/>
              <a:gd name="connsiteY119" fmla="*/ 1261974 h 2523948"/>
              <a:gd name="connsiteX120" fmla="*/ 29513 w 5137844"/>
              <a:gd name="connsiteY120" fmla="*/ 1133497 h 2523948"/>
              <a:gd name="connsiteX121" fmla="*/ 609420 w 5137844"/>
              <a:gd name="connsiteY121" fmla="*/ 128477 h 2523948"/>
              <a:gd name="connsiteX122" fmla="*/ 833098 w 5137844"/>
              <a:gd name="connsiteY122" fmla="*/ 0 h 2523948"/>
              <a:gd name="connsiteX123" fmla="*/ 1974790 w 5137844"/>
              <a:gd name="connsiteY123" fmla="*/ 0 h 2523948"/>
              <a:gd name="connsiteX124" fmla="*/ 1976098 w 5137844"/>
              <a:gd name="connsiteY124" fmla="*/ 0 h 2523948"/>
              <a:gd name="connsiteX125" fmla="*/ 1990647 w 5137844"/>
              <a:gd name="connsiteY125" fmla="*/ 0 h 2523948"/>
              <a:gd name="connsiteX126" fmla="*/ 1992912 w 5137844"/>
              <a:gd name="connsiteY126" fmla="*/ 0 h 2523948"/>
              <a:gd name="connsiteX127" fmla="*/ 2000379 w 5137844"/>
              <a:gd name="connsiteY127" fmla="*/ 0 h 2523948"/>
              <a:gd name="connsiteX128" fmla="*/ 2180255 w 5137844"/>
              <a:gd name="connsiteY128" fmla="*/ 0 h 2523948"/>
              <a:gd name="connsiteX129" fmla="*/ 2204536 w 5137844"/>
              <a:gd name="connsiteY129" fmla="*/ 0 h 2523948"/>
              <a:gd name="connsiteX130" fmla="*/ 2358928 w 5137844"/>
              <a:gd name="connsiteY130" fmla="*/ 0 h 2523948"/>
              <a:gd name="connsiteX131" fmla="*/ 2383208 w 5137844"/>
              <a:gd name="connsiteY131" fmla="*/ 0 h 2523948"/>
              <a:gd name="connsiteX132" fmla="*/ 2513815 w 5137844"/>
              <a:gd name="connsiteY132" fmla="*/ 0 h 2523948"/>
              <a:gd name="connsiteX133" fmla="*/ 2538095 w 5137844"/>
              <a:gd name="connsiteY133" fmla="*/ 0 h 2523948"/>
              <a:gd name="connsiteX134" fmla="*/ 2646616 w 5137844"/>
              <a:gd name="connsiteY134" fmla="*/ 0 h 2523948"/>
              <a:gd name="connsiteX135" fmla="*/ 2670896 w 5137844"/>
              <a:gd name="connsiteY135" fmla="*/ 0 h 2523948"/>
              <a:gd name="connsiteX136" fmla="*/ 2759029 w 5137844"/>
              <a:gd name="connsiteY136" fmla="*/ 0 h 2523948"/>
              <a:gd name="connsiteX137" fmla="*/ 2783310 w 5137844"/>
              <a:gd name="connsiteY137" fmla="*/ 0 h 2523948"/>
              <a:gd name="connsiteX138" fmla="*/ 2852754 w 5137844"/>
              <a:gd name="connsiteY138" fmla="*/ 0 h 2523948"/>
              <a:gd name="connsiteX139" fmla="*/ 2877035 w 5137844"/>
              <a:gd name="connsiteY139" fmla="*/ 0 h 2523948"/>
              <a:gd name="connsiteX140" fmla="*/ 2929490 w 5137844"/>
              <a:gd name="connsiteY140" fmla="*/ 0 h 2523948"/>
              <a:gd name="connsiteX141" fmla="*/ 2953771 w 5137844"/>
              <a:gd name="connsiteY141" fmla="*/ 0 h 2523948"/>
              <a:gd name="connsiteX142" fmla="*/ 2990936 w 5137844"/>
              <a:gd name="connsiteY142" fmla="*/ 0 h 2523948"/>
              <a:gd name="connsiteX143" fmla="*/ 3015216 w 5137844"/>
              <a:gd name="connsiteY143" fmla="*/ 0 h 2523948"/>
              <a:gd name="connsiteX144" fmla="*/ 3074750 w 5137844"/>
              <a:gd name="connsiteY144" fmla="*/ 0 h 2523948"/>
              <a:gd name="connsiteX145" fmla="*/ 3099031 w 5137844"/>
              <a:gd name="connsiteY145" fmla="*/ 0 h 2523948"/>
              <a:gd name="connsiteX146" fmla="*/ 3117790 w 5137844"/>
              <a:gd name="connsiteY146" fmla="*/ 0 h 2523948"/>
              <a:gd name="connsiteX147" fmla="*/ 3135912 w 5137844"/>
              <a:gd name="connsiteY147" fmla="*/ 0 h 2523948"/>
              <a:gd name="connsiteX148" fmla="*/ 3142071 w 5137844"/>
              <a:gd name="connsiteY148" fmla="*/ 0 h 2523948"/>
              <a:gd name="connsiteX149" fmla="*/ 3143379 w 5137844"/>
              <a:gd name="connsiteY149" fmla="*/ 0 h 2523948"/>
              <a:gd name="connsiteX150" fmla="*/ 3157927 w 5137844"/>
              <a:gd name="connsiteY150" fmla="*/ 0 h 2523948"/>
              <a:gd name="connsiteX151" fmla="*/ 3160193 w 5137844"/>
              <a:gd name="connsiteY151" fmla="*/ 0 h 2523948"/>
              <a:gd name="connsiteX152" fmla="*/ 3347536 w 5137844"/>
              <a:gd name="connsiteY152" fmla="*/ 0 h 2523948"/>
              <a:gd name="connsiteX153" fmla="*/ 4303193 w 5137844"/>
              <a:gd name="connsiteY153" fmla="*/ 0 h 2523948"/>
              <a:gd name="connsiteX154" fmla="*/ 4526872 w 5137844"/>
              <a:gd name="connsiteY154" fmla="*/ 128477 h 2523948"/>
              <a:gd name="connsiteX155" fmla="*/ 5106779 w 5137844"/>
              <a:gd name="connsiteY155" fmla="*/ 1133497 h 2523948"/>
              <a:gd name="connsiteX156" fmla="*/ 5106779 w 5137844"/>
              <a:gd name="connsiteY156" fmla="*/ 1390451 h 2523948"/>
              <a:gd name="connsiteX157" fmla="*/ 4526872 w 5137844"/>
              <a:gd name="connsiteY157" fmla="*/ 2395471 h 2523948"/>
              <a:gd name="connsiteX158" fmla="*/ 4303193 w 5137844"/>
              <a:gd name="connsiteY158" fmla="*/ 2523948 h 2523948"/>
              <a:gd name="connsiteX159" fmla="*/ 3160193 w 5137844"/>
              <a:gd name="connsiteY159" fmla="*/ 2523948 h 2523948"/>
              <a:gd name="connsiteX160" fmla="*/ 3143379 w 5137844"/>
              <a:gd name="connsiteY160" fmla="*/ 2523948 h 2523948"/>
              <a:gd name="connsiteX161" fmla="*/ 3135912 w 5137844"/>
              <a:gd name="connsiteY161" fmla="*/ 2523948 h 2523948"/>
              <a:gd name="connsiteX162" fmla="*/ 2000379 w 5137844"/>
              <a:gd name="connsiteY162" fmla="*/ 2523948 h 2523948"/>
              <a:gd name="connsiteX163" fmla="*/ 1992912 w 5137844"/>
              <a:gd name="connsiteY163" fmla="*/ 2523948 h 2523948"/>
              <a:gd name="connsiteX164" fmla="*/ 1976098 w 5137844"/>
              <a:gd name="connsiteY164" fmla="*/ 2523948 h 2523948"/>
              <a:gd name="connsiteX165" fmla="*/ 833098 w 5137844"/>
              <a:gd name="connsiteY165" fmla="*/ 2523948 h 2523948"/>
              <a:gd name="connsiteX166" fmla="*/ 609420 w 5137844"/>
              <a:gd name="connsiteY166" fmla="*/ 2395471 h 2523948"/>
              <a:gd name="connsiteX167" fmla="*/ 29513 w 5137844"/>
              <a:gd name="connsiteY167" fmla="*/ 1390451 h 2523948"/>
              <a:gd name="connsiteX168" fmla="*/ 0 w 5137844"/>
              <a:gd name="connsiteY168" fmla="*/ 1261974 h 2523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5137844" h="2523948">
                <a:moveTo>
                  <a:pt x="135606" y="1261974"/>
                </a:moveTo>
                <a:cubicBezTo>
                  <a:pt x="135606" y="1304409"/>
                  <a:pt x="144559" y="1346843"/>
                  <a:pt x="162467" y="1378906"/>
                </a:cubicBezTo>
                <a:cubicBezTo>
                  <a:pt x="162467" y="1378906"/>
                  <a:pt x="162467" y="1378906"/>
                  <a:pt x="690261" y="2293610"/>
                </a:cubicBezTo>
                <a:cubicBezTo>
                  <a:pt x="727960" y="2357733"/>
                  <a:pt x="820324" y="2410541"/>
                  <a:pt x="893838" y="2410541"/>
                </a:cubicBezTo>
                <a:lnTo>
                  <a:pt x="1084338" y="2410541"/>
                </a:lnTo>
                <a:lnTo>
                  <a:pt x="1934122" y="2410541"/>
                </a:lnTo>
                <a:lnTo>
                  <a:pt x="1949425" y="2410541"/>
                </a:lnTo>
                <a:lnTo>
                  <a:pt x="1956221" y="2410541"/>
                </a:lnTo>
                <a:lnTo>
                  <a:pt x="2124622" y="2410541"/>
                </a:lnTo>
                <a:lnTo>
                  <a:pt x="2139925" y="2410541"/>
                </a:lnTo>
                <a:lnTo>
                  <a:pt x="2146721" y="2410541"/>
                </a:lnTo>
                <a:lnTo>
                  <a:pt x="2989710" y="2410541"/>
                </a:lnTo>
                <a:lnTo>
                  <a:pt x="2996506" y="2410541"/>
                </a:lnTo>
                <a:lnTo>
                  <a:pt x="3011809" y="2410541"/>
                </a:lnTo>
                <a:lnTo>
                  <a:pt x="3180210" y="2410541"/>
                </a:lnTo>
                <a:lnTo>
                  <a:pt x="3187006" y="2410541"/>
                </a:lnTo>
                <a:lnTo>
                  <a:pt x="3202309" y="2410541"/>
                </a:lnTo>
                <a:lnTo>
                  <a:pt x="4052093" y="2410541"/>
                </a:lnTo>
                <a:lnTo>
                  <a:pt x="4242593" y="2410541"/>
                </a:lnTo>
                <a:cubicBezTo>
                  <a:pt x="4317992" y="2410541"/>
                  <a:pt x="4408471" y="2357733"/>
                  <a:pt x="4446171" y="2293610"/>
                </a:cubicBezTo>
                <a:cubicBezTo>
                  <a:pt x="4446171" y="2293610"/>
                  <a:pt x="4446171" y="2293610"/>
                  <a:pt x="4973965" y="1378906"/>
                </a:cubicBezTo>
                <a:cubicBezTo>
                  <a:pt x="5011664" y="1314782"/>
                  <a:pt x="5011664" y="1209166"/>
                  <a:pt x="4973965" y="1145043"/>
                </a:cubicBezTo>
                <a:cubicBezTo>
                  <a:pt x="4973965" y="1145043"/>
                  <a:pt x="4973965" y="1145043"/>
                  <a:pt x="4446171" y="230339"/>
                </a:cubicBezTo>
                <a:cubicBezTo>
                  <a:pt x="4408471" y="166215"/>
                  <a:pt x="4317992" y="113407"/>
                  <a:pt x="4242593" y="113407"/>
                </a:cubicBezTo>
                <a:cubicBezTo>
                  <a:pt x="4242593" y="113407"/>
                  <a:pt x="4242593" y="113407"/>
                  <a:pt x="4133871" y="113407"/>
                </a:cubicBezTo>
                <a:lnTo>
                  <a:pt x="4052093" y="113407"/>
                </a:lnTo>
                <a:lnTo>
                  <a:pt x="4050394" y="113407"/>
                </a:lnTo>
                <a:lnTo>
                  <a:pt x="4038503" y="113407"/>
                </a:lnTo>
                <a:lnTo>
                  <a:pt x="4030245" y="113407"/>
                </a:lnTo>
                <a:lnTo>
                  <a:pt x="4006226" y="113407"/>
                </a:lnTo>
                <a:lnTo>
                  <a:pt x="3943371" y="113407"/>
                </a:lnTo>
                <a:lnTo>
                  <a:pt x="3875656" y="113407"/>
                </a:lnTo>
                <a:lnTo>
                  <a:pt x="3839745" y="113407"/>
                </a:lnTo>
                <a:lnTo>
                  <a:pt x="3776065" y="113407"/>
                </a:lnTo>
                <a:lnTo>
                  <a:pt x="3685156" y="113407"/>
                </a:lnTo>
                <a:lnTo>
                  <a:pt x="3659911" y="113407"/>
                </a:lnTo>
                <a:lnTo>
                  <a:pt x="3585565" y="113407"/>
                </a:lnTo>
                <a:lnTo>
                  <a:pt x="3525919" y="113407"/>
                </a:lnTo>
                <a:lnTo>
                  <a:pt x="3469411" y="113407"/>
                </a:lnTo>
                <a:lnTo>
                  <a:pt x="3372816" y="113407"/>
                </a:lnTo>
                <a:lnTo>
                  <a:pt x="3335419" y="113407"/>
                </a:lnTo>
                <a:lnTo>
                  <a:pt x="3202309" y="113407"/>
                </a:lnTo>
                <a:lnTo>
                  <a:pt x="3200246" y="113407"/>
                </a:lnTo>
                <a:lnTo>
                  <a:pt x="3187006" y="113407"/>
                </a:lnTo>
                <a:lnTo>
                  <a:pt x="3185815" y="113407"/>
                </a:lnTo>
                <a:lnTo>
                  <a:pt x="3182316" y="113407"/>
                </a:lnTo>
                <a:lnTo>
                  <a:pt x="3180210" y="113407"/>
                </a:lnTo>
                <a:cubicBezTo>
                  <a:pt x="3180210" y="113407"/>
                  <a:pt x="3180210" y="113407"/>
                  <a:pt x="3163716" y="113407"/>
                </a:cubicBezTo>
                <a:lnTo>
                  <a:pt x="3146643" y="113407"/>
                </a:lnTo>
                <a:lnTo>
                  <a:pt x="3124544" y="113407"/>
                </a:lnTo>
                <a:lnTo>
                  <a:pt x="3070360" y="113407"/>
                </a:lnTo>
                <a:lnTo>
                  <a:pt x="3048262" y="113407"/>
                </a:lnTo>
                <a:lnTo>
                  <a:pt x="3014437" y="113407"/>
                </a:lnTo>
                <a:lnTo>
                  <a:pt x="3011809" y="113407"/>
                </a:lnTo>
                <a:lnTo>
                  <a:pt x="3009746" y="113407"/>
                </a:lnTo>
                <a:lnTo>
                  <a:pt x="2996506" y="113407"/>
                </a:lnTo>
                <a:lnTo>
                  <a:pt x="2995315" y="113407"/>
                </a:lnTo>
                <a:lnTo>
                  <a:pt x="2992338" y="113407"/>
                </a:lnTo>
                <a:lnTo>
                  <a:pt x="2989710" y="113407"/>
                </a:lnTo>
                <a:lnTo>
                  <a:pt x="2987648" y="113407"/>
                </a:lnTo>
                <a:lnTo>
                  <a:pt x="2973216" y="113407"/>
                </a:lnTo>
                <a:lnTo>
                  <a:pt x="2956143" y="113407"/>
                </a:lnTo>
                <a:lnTo>
                  <a:pt x="2944597" y="113407"/>
                </a:lnTo>
                <a:lnTo>
                  <a:pt x="2934044" y="113407"/>
                </a:lnTo>
                <a:lnTo>
                  <a:pt x="2922498" y="113407"/>
                </a:lnTo>
                <a:lnTo>
                  <a:pt x="2879860" y="113407"/>
                </a:lnTo>
                <a:lnTo>
                  <a:pt x="2859294" y="113407"/>
                </a:lnTo>
                <a:lnTo>
                  <a:pt x="2857762" y="113407"/>
                </a:lnTo>
                <a:lnTo>
                  <a:pt x="2837195" y="113407"/>
                </a:lnTo>
                <a:lnTo>
                  <a:pt x="2823937" y="113407"/>
                </a:lnTo>
                <a:lnTo>
                  <a:pt x="2801838" y="113407"/>
                </a:lnTo>
                <a:lnTo>
                  <a:pt x="2756982" y="113407"/>
                </a:lnTo>
                <a:lnTo>
                  <a:pt x="2754097" y="113407"/>
                </a:lnTo>
                <a:lnTo>
                  <a:pt x="2734884" y="113407"/>
                </a:lnTo>
                <a:lnTo>
                  <a:pt x="2731998" y="113407"/>
                </a:lnTo>
                <a:lnTo>
                  <a:pt x="2668794" y="113407"/>
                </a:lnTo>
                <a:lnTo>
                  <a:pt x="2646695" y="113407"/>
                </a:lnTo>
                <a:lnTo>
                  <a:pt x="2636115" y="113407"/>
                </a:lnTo>
                <a:lnTo>
                  <a:pt x="2614017" y="113407"/>
                </a:lnTo>
                <a:lnTo>
                  <a:pt x="2566482" y="113407"/>
                </a:lnTo>
                <a:lnTo>
                  <a:pt x="2544384" y="113407"/>
                </a:lnTo>
                <a:lnTo>
                  <a:pt x="2495147" y="113407"/>
                </a:lnTo>
                <a:lnTo>
                  <a:pt x="2473049" y="113407"/>
                </a:lnTo>
                <a:lnTo>
                  <a:pt x="2445615" y="113407"/>
                </a:lnTo>
                <a:lnTo>
                  <a:pt x="2423517" y="113407"/>
                </a:lnTo>
                <a:lnTo>
                  <a:pt x="2332532" y="113407"/>
                </a:lnTo>
                <a:lnTo>
                  <a:pt x="2310433" y="113407"/>
                </a:lnTo>
                <a:lnTo>
                  <a:pt x="2304647" y="113407"/>
                </a:lnTo>
                <a:lnTo>
                  <a:pt x="2282549" y="113407"/>
                </a:lnTo>
                <a:lnTo>
                  <a:pt x="2146721" y="113407"/>
                </a:lnTo>
                <a:lnTo>
                  <a:pt x="2142032" y="113407"/>
                </a:lnTo>
                <a:lnTo>
                  <a:pt x="2139925" y="113407"/>
                </a:lnTo>
                <a:lnTo>
                  <a:pt x="2137864" y="113407"/>
                </a:lnTo>
                <a:lnTo>
                  <a:pt x="2124622" y="113407"/>
                </a:lnTo>
                <a:lnTo>
                  <a:pt x="2123432" y="113407"/>
                </a:lnTo>
                <a:lnTo>
                  <a:pt x="2119933" y="113407"/>
                </a:lnTo>
                <a:lnTo>
                  <a:pt x="2097049" y="113407"/>
                </a:lnTo>
                <a:cubicBezTo>
                  <a:pt x="2073661" y="113407"/>
                  <a:pt x="2037517" y="113407"/>
                  <a:pt x="1981658" y="113407"/>
                </a:cubicBezTo>
                <a:lnTo>
                  <a:pt x="1956221" y="113407"/>
                </a:lnTo>
                <a:lnTo>
                  <a:pt x="1949425" y="113407"/>
                </a:lnTo>
                <a:lnTo>
                  <a:pt x="1947364" y="113407"/>
                </a:lnTo>
                <a:lnTo>
                  <a:pt x="1934122" y="113407"/>
                </a:lnTo>
                <a:lnTo>
                  <a:pt x="1932932" y="113407"/>
                </a:lnTo>
                <a:lnTo>
                  <a:pt x="1906549" y="113407"/>
                </a:lnTo>
                <a:lnTo>
                  <a:pt x="1882214" y="113407"/>
                </a:lnTo>
                <a:lnTo>
                  <a:pt x="1861030" y="113407"/>
                </a:lnTo>
                <a:lnTo>
                  <a:pt x="1791158" y="113407"/>
                </a:lnTo>
                <a:lnTo>
                  <a:pt x="1747978" y="113407"/>
                </a:lnTo>
                <a:lnTo>
                  <a:pt x="1691714" y="113407"/>
                </a:lnTo>
                <a:lnTo>
                  <a:pt x="1573733" y="113407"/>
                </a:lnTo>
                <a:lnTo>
                  <a:pt x="1557478" y="113407"/>
                </a:lnTo>
                <a:lnTo>
                  <a:pt x="1383233" y="113407"/>
                </a:lnTo>
                <a:lnTo>
                  <a:pt x="1354259" y="113407"/>
                </a:lnTo>
                <a:lnTo>
                  <a:pt x="1163759" y="113407"/>
                </a:lnTo>
                <a:lnTo>
                  <a:pt x="1084338" y="113407"/>
                </a:lnTo>
                <a:lnTo>
                  <a:pt x="893838" y="113407"/>
                </a:lnTo>
                <a:cubicBezTo>
                  <a:pt x="820324" y="113407"/>
                  <a:pt x="727960" y="166215"/>
                  <a:pt x="690261" y="230339"/>
                </a:cubicBezTo>
                <a:cubicBezTo>
                  <a:pt x="690261" y="230339"/>
                  <a:pt x="690261" y="230339"/>
                  <a:pt x="162467" y="1145043"/>
                </a:cubicBezTo>
                <a:cubicBezTo>
                  <a:pt x="144559" y="1177105"/>
                  <a:pt x="135606" y="1219539"/>
                  <a:pt x="135606" y="1261974"/>
                </a:cubicBezTo>
                <a:close/>
                <a:moveTo>
                  <a:pt x="0" y="1261974"/>
                </a:moveTo>
                <a:cubicBezTo>
                  <a:pt x="0" y="1215349"/>
                  <a:pt x="9837" y="1168725"/>
                  <a:pt x="29513" y="1133497"/>
                </a:cubicBezTo>
                <a:cubicBezTo>
                  <a:pt x="609420" y="128477"/>
                  <a:pt x="609420" y="128477"/>
                  <a:pt x="609420" y="128477"/>
                </a:cubicBezTo>
                <a:cubicBezTo>
                  <a:pt x="650842" y="58022"/>
                  <a:pt x="752325" y="0"/>
                  <a:pt x="833098" y="0"/>
                </a:cubicBezTo>
                <a:cubicBezTo>
                  <a:pt x="1702959" y="0"/>
                  <a:pt x="1920424" y="0"/>
                  <a:pt x="1974790" y="0"/>
                </a:cubicBezTo>
                <a:lnTo>
                  <a:pt x="1976098" y="0"/>
                </a:lnTo>
                <a:lnTo>
                  <a:pt x="1990647" y="0"/>
                </a:lnTo>
                <a:lnTo>
                  <a:pt x="1992912" y="0"/>
                </a:lnTo>
                <a:lnTo>
                  <a:pt x="2000379" y="0"/>
                </a:lnTo>
                <a:lnTo>
                  <a:pt x="2180255" y="0"/>
                </a:lnTo>
                <a:lnTo>
                  <a:pt x="2204536" y="0"/>
                </a:lnTo>
                <a:lnTo>
                  <a:pt x="2358928" y="0"/>
                </a:lnTo>
                <a:lnTo>
                  <a:pt x="2383208" y="0"/>
                </a:lnTo>
                <a:lnTo>
                  <a:pt x="2513815" y="0"/>
                </a:lnTo>
                <a:lnTo>
                  <a:pt x="2538095" y="0"/>
                </a:lnTo>
                <a:lnTo>
                  <a:pt x="2646616" y="0"/>
                </a:lnTo>
                <a:lnTo>
                  <a:pt x="2670896" y="0"/>
                </a:lnTo>
                <a:lnTo>
                  <a:pt x="2759029" y="0"/>
                </a:lnTo>
                <a:lnTo>
                  <a:pt x="2783310" y="0"/>
                </a:lnTo>
                <a:lnTo>
                  <a:pt x="2852754" y="0"/>
                </a:lnTo>
                <a:lnTo>
                  <a:pt x="2877035" y="0"/>
                </a:lnTo>
                <a:lnTo>
                  <a:pt x="2929490" y="0"/>
                </a:lnTo>
                <a:lnTo>
                  <a:pt x="2953771" y="0"/>
                </a:lnTo>
                <a:lnTo>
                  <a:pt x="2990936" y="0"/>
                </a:lnTo>
                <a:lnTo>
                  <a:pt x="3015216" y="0"/>
                </a:lnTo>
                <a:lnTo>
                  <a:pt x="3074750" y="0"/>
                </a:lnTo>
                <a:lnTo>
                  <a:pt x="3099031" y="0"/>
                </a:lnTo>
                <a:lnTo>
                  <a:pt x="3117790" y="0"/>
                </a:lnTo>
                <a:cubicBezTo>
                  <a:pt x="3135912" y="0"/>
                  <a:pt x="3135912" y="0"/>
                  <a:pt x="3135912" y="0"/>
                </a:cubicBezTo>
                <a:lnTo>
                  <a:pt x="3142071" y="0"/>
                </a:lnTo>
                <a:lnTo>
                  <a:pt x="3143379" y="0"/>
                </a:lnTo>
                <a:lnTo>
                  <a:pt x="3157927" y="0"/>
                </a:lnTo>
                <a:lnTo>
                  <a:pt x="3160193" y="0"/>
                </a:lnTo>
                <a:lnTo>
                  <a:pt x="3347536" y="0"/>
                </a:lnTo>
                <a:cubicBezTo>
                  <a:pt x="4303193" y="0"/>
                  <a:pt x="4303193" y="0"/>
                  <a:pt x="4303193" y="0"/>
                </a:cubicBezTo>
                <a:cubicBezTo>
                  <a:pt x="4386037" y="0"/>
                  <a:pt x="4485449" y="58022"/>
                  <a:pt x="4526872" y="128477"/>
                </a:cubicBezTo>
                <a:cubicBezTo>
                  <a:pt x="5106779" y="1133497"/>
                  <a:pt x="5106779" y="1133497"/>
                  <a:pt x="5106779" y="1133497"/>
                </a:cubicBezTo>
                <a:cubicBezTo>
                  <a:pt x="5148200" y="1203952"/>
                  <a:pt x="5148200" y="1319996"/>
                  <a:pt x="5106779" y="1390451"/>
                </a:cubicBezTo>
                <a:cubicBezTo>
                  <a:pt x="4526872" y="2395471"/>
                  <a:pt x="4526872" y="2395471"/>
                  <a:pt x="4526872" y="2395471"/>
                </a:cubicBezTo>
                <a:cubicBezTo>
                  <a:pt x="4485449" y="2465926"/>
                  <a:pt x="4386037" y="2523948"/>
                  <a:pt x="4303193" y="2523948"/>
                </a:cubicBezTo>
                <a:lnTo>
                  <a:pt x="3160193" y="2523948"/>
                </a:lnTo>
                <a:lnTo>
                  <a:pt x="3143379" y="2523948"/>
                </a:lnTo>
                <a:lnTo>
                  <a:pt x="3135912" y="2523948"/>
                </a:lnTo>
                <a:lnTo>
                  <a:pt x="2000379" y="2523948"/>
                </a:lnTo>
                <a:lnTo>
                  <a:pt x="1992912" y="2523948"/>
                </a:lnTo>
                <a:lnTo>
                  <a:pt x="1976098" y="2523948"/>
                </a:lnTo>
                <a:lnTo>
                  <a:pt x="833098" y="2523948"/>
                </a:lnTo>
                <a:cubicBezTo>
                  <a:pt x="752325" y="2523948"/>
                  <a:pt x="650842" y="2465926"/>
                  <a:pt x="609420" y="2395471"/>
                </a:cubicBezTo>
                <a:cubicBezTo>
                  <a:pt x="29513" y="1390451"/>
                  <a:pt x="29513" y="1390451"/>
                  <a:pt x="29513" y="1390451"/>
                </a:cubicBezTo>
                <a:cubicBezTo>
                  <a:pt x="9837" y="1355223"/>
                  <a:pt x="0" y="1308599"/>
                  <a:pt x="0" y="1261974"/>
                </a:cubicBezTo>
                <a:close/>
              </a:path>
            </a:pathLst>
          </a:custGeom>
          <a:solidFill>
            <a:srgbClr val="02919F"/>
          </a:solidFill>
          <a:ln w="25400">
            <a:solidFill>
              <a:srgbClr val="02919F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 sz="2000">
              <a:solidFill>
                <a:prstClr val="black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3" name="任意多边形 70"/>
          <p:cNvSpPr>
            <a:spLocks/>
          </p:cNvSpPr>
          <p:nvPr/>
        </p:nvSpPr>
        <p:spPr bwMode="auto">
          <a:xfrm rot="5400000">
            <a:off x="9939396" y="1685987"/>
            <a:ext cx="2273437" cy="1760195"/>
          </a:xfrm>
          <a:custGeom>
            <a:avLst/>
            <a:gdLst>
              <a:gd name="connsiteX0" fmla="*/ 135606 w 5137844"/>
              <a:gd name="connsiteY0" fmla="*/ 1261974 h 2523948"/>
              <a:gd name="connsiteX1" fmla="*/ 162467 w 5137844"/>
              <a:gd name="connsiteY1" fmla="*/ 1378906 h 2523948"/>
              <a:gd name="connsiteX2" fmla="*/ 690261 w 5137844"/>
              <a:gd name="connsiteY2" fmla="*/ 2293610 h 2523948"/>
              <a:gd name="connsiteX3" fmla="*/ 893838 w 5137844"/>
              <a:gd name="connsiteY3" fmla="*/ 2410541 h 2523948"/>
              <a:gd name="connsiteX4" fmla="*/ 1084338 w 5137844"/>
              <a:gd name="connsiteY4" fmla="*/ 2410541 h 2523948"/>
              <a:gd name="connsiteX5" fmla="*/ 1934122 w 5137844"/>
              <a:gd name="connsiteY5" fmla="*/ 2410541 h 2523948"/>
              <a:gd name="connsiteX6" fmla="*/ 1949425 w 5137844"/>
              <a:gd name="connsiteY6" fmla="*/ 2410541 h 2523948"/>
              <a:gd name="connsiteX7" fmla="*/ 1956221 w 5137844"/>
              <a:gd name="connsiteY7" fmla="*/ 2410541 h 2523948"/>
              <a:gd name="connsiteX8" fmla="*/ 2124622 w 5137844"/>
              <a:gd name="connsiteY8" fmla="*/ 2410541 h 2523948"/>
              <a:gd name="connsiteX9" fmla="*/ 2139925 w 5137844"/>
              <a:gd name="connsiteY9" fmla="*/ 2410541 h 2523948"/>
              <a:gd name="connsiteX10" fmla="*/ 2146721 w 5137844"/>
              <a:gd name="connsiteY10" fmla="*/ 2410541 h 2523948"/>
              <a:gd name="connsiteX11" fmla="*/ 2989710 w 5137844"/>
              <a:gd name="connsiteY11" fmla="*/ 2410541 h 2523948"/>
              <a:gd name="connsiteX12" fmla="*/ 2996506 w 5137844"/>
              <a:gd name="connsiteY12" fmla="*/ 2410541 h 2523948"/>
              <a:gd name="connsiteX13" fmla="*/ 3011809 w 5137844"/>
              <a:gd name="connsiteY13" fmla="*/ 2410541 h 2523948"/>
              <a:gd name="connsiteX14" fmla="*/ 3180210 w 5137844"/>
              <a:gd name="connsiteY14" fmla="*/ 2410541 h 2523948"/>
              <a:gd name="connsiteX15" fmla="*/ 3187006 w 5137844"/>
              <a:gd name="connsiteY15" fmla="*/ 2410541 h 2523948"/>
              <a:gd name="connsiteX16" fmla="*/ 3202309 w 5137844"/>
              <a:gd name="connsiteY16" fmla="*/ 2410541 h 2523948"/>
              <a:gd name="connsiteX17" fmla="*/ 4052093 w 5137844"/>
              <a:gd name="connsiteY17" fmla="*/ 2410541 h 2523948"/>
              <a:gd name="connsiteX18" fmla="*/ 4242593 w 5137844"/>
              <a:gd name="connsiteY18" fmla="*/ 2410541 h 2523948"/>
              <a:gd name="connsiteX19" fmla="*/ 4446171 w 5137844"/>
              <a:gd name="connsiteY19" fmla="*/ 2293610 h 2523948"/>
              <a:gd name="connsiteX20" fmla="*/ 4973965 w 5137844"/>
              <a:gd name="connsiteY20" fmla="*/ 1378906 h 2523948"/>
              <a:gd name="connsiteX21" fmla="*/ 4973965 w 5137844"/>
              <a:gd name="connsiteY21" fmla="*/ 1145043 h 2523948"/>
              <a:gd name="connsiteX22" fmla="*/ 4446171 w 5137844"/>
              <a:gd name="connsiteY22" fmla="*/ 230339 h 2523948"/>
              <a:gd name="connsiteX23" fmla="*/ 4242593 w 5137844"/>
              <a:gd name="connsiteY23" fmla="*/ 113407 h 2523948"/>
              <a:gd name="connsiteX24" fmla="*/ 4133871 w 5137844"/>
              <a:gd name="connsiteY24" fmla="*/ 113407 h 2523948"/>
              <a:gd name="connsiteX25" fmla="*/ 4052093 w 5137844"/>
              <a:gd name="connsiteY25" fmla="*/ 113407 h 2523948"/>
              <a:gd name="connsiteX26" fmla="*/ 4050394 w 5137844"/>
              <a:gd name="connsiteY26" fmla="*/ 113407 h 2523948"/>
              <a:gd name="connsiteX27" fmla="*/ 4038503 w 5137844"/>
              <a:gd name="connsiteY27" fmla="*/ 113407 h 2523948"/>
              <a:gd name="connsiteX28" fmla="*/ 4030245 w 5137844"/>
              <a:gd name="connsiteY28" fmla="*/ 113407 h 2523948"/>
              <a:gd name="connsiteX29" fmla="*/ 4006226 w 5137844"/>
              <a:gd name="connsiteY29" fmla="*/ 113407 h 2523948"/>
              <a:gd name="connsiteX30" fmla="*/ 3943371 w 5137844"/>
              <a:gd name="connsiteY30" fmla="*/ 113407 h 2523948"/>
              <a:gd name="connsiteX31" fmla="*/ 3875656 w 5137844"/>
              <a:gd name="connsiteY31" fmla="*/ 113407 h 2523948"/>
              <a:gd name="connsiteX32" fmla="*/ 3839745 w 5137844"/>
              <a:gd name="connsiteY32" fmla="*/ 113407 h 2523948"/>
              <a:gd name="connsiteX33" fmla="*/ 3776065 w 5137844"/>
              <a:gd name="connsiteY33" fmla="*/ 113407 h 2523948"/>
              <a:gd name="connsiteX34" fmla="*/ 3685156 w 5137844"/>
              <a:gd name="connsiteY34" fmla="*/ 113407 h 2523948"/>
              <a:gd name="connsiteX35" fmla="*/ 3659911 w 5137844"/>
              <a:gd name="connsiteY35" fmla="*/ 113407 h 2523948"/>
              <a:gd name="connsiteX36" fmla="*/ 3585565 w 5137844"/>
              <a:gd name="connsiteY36" fmla="*/ 113407 h 2523948"/>
              <a:gd name="connsiteX37" fmla="*/ 3525919 w 5137844"/>
              <a:gd name="connsiteY37" fmla="*/ 113407 h 2523948"/>
              <a:gd name="connsiteX38" fmla="*/ 3469411 w 5137844"/>
              <a:gd name="connsiteY38" fmla="*/ 113407 h 2523948"/>
              <a:gd name="connsiteX39" fmla="*/ 3372816 w 5137844"/>
              <a:gd name="connsiteY39" fmla="*/ 113407 h 2523948"/>
              <a:gd name="connsiteX40" fmla="*/ 3335419 w 5137844"/>
              <a:gd name="connsiteY40" fmla="*/ 113407 h 2523948"/>
              <a:gd name="connsiteX41" fmla="*/ 3202309 w 5137844"/>
              <a:gd name="connsiteY41" fmla="*/ 113407 h 2523948"/>
              <a:gd name="connsiteX42" fmla="*/ 3200246 w 5137844"/>
              <a:gd name="connsiteY42" fmla="*/ 113407 h 2523948"/>
              <a:gd name="connsiteX43" fmla="*/ 3187006 w 5137844"/>
              <a:gd name="connsiteY43" fmla="*/ 113407 h 2523948"/>
              <a:gd name="connsiteX44" fmla="*/ 3185815 w 5137844"/>
              <a:gd name="connsiteY44" fmla="*/ 113407 h 2523948"/>
              <a:gd name="connsiteX45" fmla="*/ 3182316 w 5137844"/>
              <a:gd name="connsiteY45" fmla="*/ 113407 h 2523948"/>
              <a:gd name="connsiteX46" fmla="*/ 3180210 w 5137844"/>
              <a:gd name="connsiteY46" fmla="*/ 113407 h 2523948"/>
              <a:gd name="connsiteX47" fmla="*/ 3163716 w 5137844"/>
              <a:gd name="connsiteY47" fmla="*/ 113407 h 2523948"/>
              <a:gd name="connsiteX48" fmla="*/ 3146643 w 5137844"/>
              <a:gd name="connsiteY48" fmla="*/ 113407 h 2523948"/>
              <a:gd name="connsiteX49" fmla="*/ 3124544 w 5137844"/>
              <a:gd name="connsiteY49" fmla="*/ 113407 h 2523948"/>
              <a:gd name="connsiteX50" fmla="*/ 3070360 w 5137844"/>
              <a:gd name="connsiteY50" fmla="*/ 113407 h 2523948"/>
              <a:gd name="connsiteX51" fmla="*/ 3048262 w 5137844"/>
              <a:gd name="connsiteY51" fmla="*/ 113407 h 2523948"/>
              <a:gd name="connsiteX52" fmla="*/ 3014437 w 5137844"/>
              <a:gd name="connsiteY52" fmla="*/ 113407 h 2523948"/>
              <a:gd name="connsiteX53" fmla="*/ 3011809 w 5137844"/>
              <a:gd name="connsiteY53" fmla="*/ 113407 h 2523948"/>
              <a:gd name="connsiteX54" fmla="*/ 3009746 w 5137844"/>
              <a:gd name="connsiteY54" fmla="*/ 113407 h 2523948"/>
              <a:gd name="connsiteX55" fmla="*/ 2996506 w 5137844"/>
              <a:gd name="connsiteY55" fmla="*/ 113407 h 2523948"/>
              <a:gd name="connsiteX56" fmla="*/ 2995315 w 5137844"/>
              <a:gd name="connsiteY56" fmla="*/ 113407 h 2523948"/>
              <a:gd name="connsiteX57" fmla="*/ 2992338 w 5137844"/>
              <a:gd name="connsiteY57" fmla="*/ 113407 h 2523948"/>
              <a:gd name="connsiteX58" fmla="*/ 2989710 w 5137844"/>
              <a:gd name="connsiteY58" fmla="*/ 113407 h 2523948"/>
              <a:gd name="connsiteX59" fmla="*/ 2987648 w 5137844"/>
              <a:gd name="connsiteY59" fmla="*/ 113407 h 2523948"/>
              <a:gd name="connsiteX60" fmla="*/ 2973216 w 5137844"/>
              <a:gd name="connsiteY60" fmla="*/ 113407 h 2523948"/>
              <a:gd name="connsiteX61" fmla="*/ 2956143 w 5137844"/>
              <a:gd name="connsiteY61" fmla="*/ 113407 h 2523948"/>
              <a:gd name="connsiteX62" fmla="*/ 2944597 w 5137844"/>
              <a:gd name="connsiteY62" fmla="*/ 113407 h 2523948"/>
              <a:gd name="connsiteX63" fmla="*/ 2934044 w 5137844"/>
              <a:gd name="connsiteY63" fmla="*/ 113407 h 2523948"/>
              <a:gd name="connsiteX64" fmla="*/ 2922498 w 5137844"/>
              <a:gd name="connsiteY64" fmla="*/ 113407 h 2523948"/>
              <a:gd name="connsiteX65" fmla="*/ 2879860 w 5137844"/>
              <a:gd name="connsiteY65" fmla="*/ 113407 h 2523948"/>
              <a:gd name="connsiteX66" fmla="*/ 2859294 w 5137844"/>
              <a:gd name="connsiteY66" fmla="*/ 113407 h 2523948"/>
              <a:gd name="connsiteX67" fmla="*/ 2857762 w 5137844"/>
              <a:gd name="connsiteY67" fmla="*/ 113407 h 2523948"/>
              <a:gd name="connsiteX68" fmla="*/ 2837195 w 5137844"/>
              <a:gd name="connsiteY68" fmla="*/ 113407 h 2523948"/>
              <a:gd name="connsiteX69" fmla="*/ 2823937 w 5137844"/>
              <a:gd name="connsiteY69" fmla="*/ 113407 h 2523948"/>
              <a:gd name="connsiteX70" fmla="*/ 2801838 w 5137844"/>
              <a:gd name="connsiteY70" fmla="*/ 113407 h 2523948"/>
              <a:gd name="connsiteX71" fmla="*/ 2756982 w 5137844"/>
              <a:gd name="connsiteY71" fmla="*/ 113407 h 2523948"/>
              <a:gd name="connsiteX72" fmla="*/ 2754097 w 5137844"/>
              <a:gd name="connsiteY72" fmla="*/ 113407 h 2523948"/>
              <a:gd name="connsiteX73" fmla="*/ 2734884 w 5137844"/>
              <a:gd name="connsiteY73" fmla="*/ 113407 h 2523948"/>
              <a:gd name="connsiteX74" fmla="*/ 2731998 w 5137844"/>
              <a:gd name="connsiteY74" fmla="*/ 113407 h 2523948"/>
              <a:gd name="connsiteX75" fmla="*/ 2668794 w 5137844"/>
              <a:gd name="connsiteY75" fmla="*/ 113407 h 2523948"/>
              <a:gd name="connsiteX76" fmla="*/ 2646695 w 5137844"/>
              <a:gd name="connsiteY76" fmla="*/ 113407 h 2523948"/>
              <a:gd name="connsiteX77" fmla="*/ 2636115 w 5137844"/>
              <a:gd name="connsiteY77" fmla="*/ 113407 h 2523948"/>
              <a:gd name="connsiteX78" fmla="*/ 2614017 w 5137844"/>
              <a:gd name="connsiteY78" fmla="*/ 113407 h 2523948"/>
              <a:gd name="connsiteX79" fmla="*/ 2566482 w 5137844"/>
              <a:gd name="connsiteY79" fmla="*/ 113407 h 2523948"/>
              <a:gd name="connsiteX80" fmla="*/ 2544384 w 5137844"/>
              <a:gd name="connsiteY80" fmla="*/ 113407 h 2523948"/>
              <a:gd name="connsiteX81" fmla="*/ 2495147 w 5137844"/>
              <a:gd name="connsiteY81" fmla="*/ 113407 h 2523948"/>
              <a:gd name="connsiteX82" fmla="*/ 2473049 w 5137844"/>
              <a:gd name="connsiteY82" fmla="*/ 113407 h 2523948"/>
              <a:gd name="connsiteX83" fmla="*/ 2445615 w 5137844"/>
              <a:gd name="connsiteY83" fmla="*/ 113407 h 2523948"/>
              <a:gd name="connsiteX84" fmla="*/ 2423517 w 5137844"/>
              <a:gd name="connsiteY84" fmla="*/ 113407 h 2523948"/>
              <a:gd name="connsiteX85" fmla="*/ 2332532 w 5137844"/>
              <a:gd name="connsiteY85" fmla="*/ 113407 h 2523948"/>
              <a:gd name="connsiteX86" fmla="*/ 2310433 w 5137844"/>
              <a:gd name="connsiteY86" fmla="*/ 113407 h 2523948"/>
              <a:gd name="connsiteX87" fmla="*/ 2304647 w 5137844"/>
              <a:gd name="connsiteY87" fmla="*/ 113407 h 2523948"/>
              <a:gd name="connsiteX88" fmla="*/ 2282549 w 5137844"/>
              <a:gd name="connsiteY88" fmla="*/ 113407 h 2523948"/>
              <a:gd name="connsiteX89" fmla="*/ 2146721 w 5137844"/>
              <a:gd name="connsiteY89" fmla="*/ 113407 h 2523948"/>
              <a:gd name="connsiteX90" fmla="*/ 2142032 w 5137844"/>
              <a:gd name="connsiteY90" fmla="*/ 113407 h 2523948"/>
              <a:gd name="connsiteX91" fmla="*/ 2139925 w 5137844"/>
              <a:gd name="connsiteY91" fmla="*/ 113407 h 2523948"/>
              <a:gd name="connsiteX92" fmla="*/ 2137864 w 5137844"/>
              <a:gd name="connsiteY92" fmla="*/ 113407 h 2523948"/>
              <a:gd name="connsiteX93" fmla="*/ 2124622 w 5137844"/>
              <a:gd name="connsiteY93" fmla="*/ 113407 h 2523948"/>
              <a:gd name="connsiteX94" fmla="*/ 2123432 w 5137844"/>
              <a:gd name="connsiteY94" fmla="*/ 113407 h 2523948"/>
              <a:gd name="connsiteX95" fmla="*/ 2119933 w 5137844"/>
              <a:gd name="connsiteY95" fmla="*/ 113407 h 2523948"/>
              <a:gd name="connsiteX96" fmla="*/ 2097049 w 5137844"/>
              <a:gd name="connsiteY96" fmla="*/ 113407 h 2523948"/>
              <a:gd name="connsiteX97" fmla="*/ 1981658 w 5137844"/>
              <a:gd name="connsiteY97" fmla="*/ 113407 h 2523948"/>
              <a:gd name="connsiteX98" fmla="*/ 1956221 w 5137844"/>
              <a:gd name="connsiteY98" fmla="*/ 113407 h 2523948"/>
              <a:gd name="connsiteX99" fmla="*/ 1949425 w 5137844"/>
              <a:gd name="connsiteY99" fmla="*/ 113407 h 2523948"/>
              <a:gd name="connsiteX100" fmla="*/ 1947364 w 5137844"/>
              <a:gd name="connsiteY100" fmla="*/ 113407 h 2523948"/>
              <a:gd name="connsiteX101" fmla="*/ 1934122 w 5137844"/>
              <a:gd name="connsiteY101" fmla="*/ 113407 h 2523948"/>
              <a:gd name="connsiteX102" fmla="*/ 1932932 w 5137844"/>
              <a:gd name="connsiteY102" fmla="*/ 113407 h 2523948"/>
              <a:gd name="connsiteX103" fmla="*/ 1906549 w 5137844"/>
              <a:gd name="connsiteY103" fmla="*/ 113407 h 2523948"/>
              <a:gd name="connsiteX104" fmla="*/ 1882214 w 5137844"/>
              <a:gd name="connsiteY104" fmla="*/ 113407 h 2523948"/>
              <a:gd name="connsiteX105" fmla="*/ 1861030 w 5137844"/>
              <a:gd name="connsiteY105" fmla="*/ 113407 h 2523948"/>
              <a:gd name="connsiteX106" fmla="*/ 1791158 w 5137844"/>
              <a:gd name="connsiteY106" fmla="*/ 113407 h 2523948"/>
              <a:gd name="connsiteX107" fmla="*/ 1747978 w 5137844"/>
              <a:gd name="connsiteY107" fmla="*/ 113407 h 2523948"/>
              <a:gd name="connsiteX108" fmla="*/ 1691714 w 5137844"/>
              <a:gd name="connsiteY108" fmla="*/ 113407 h 2523948"/>
              <a:gd name="connsiteX109" fmla="*/ 1573733 w 5137844"/>
              <a:gd name="connsiteY109" fmla="*/ 113407 h 2523948"/>
              <a:gd name="connsiteX110" fmla="*/ 1557478 w 5137844"/>
              <a:gd name="connsiteY110" fmla="*/ 113407 h 2523948"/>
              <a:gd name="connsiteX111" fmla="*/ 1383233 w 5137844"/>
              <a:gd name="connsiteY111" fmla="*/ 113407 h 2523948"/>
              <a:gd name="connsiteX112" fmla="*/ 1354259 w 5137844"/>
              <a:gd name="connsiteY112" fmla="*/ 113407 h 2523948"/>
              <a:gd name="connsiteX113" fmla="*/ 1163759 w 5137844"/>
              <a:gd name="connsiteY113" fmla="*/ 113407 h 2523948"/>
              <a:gd name="connsiteX114" fmla="*/ 1084338 w 5137844"/>
              <a:gd name="connsiteY114" fmla="*/ 113407 h 2523948"/>
              <a:gd name="connsiteX115" fmla="*/ 893838 w 5137844"/>
              <a:gd name="connsiteY115" fmla="*/ 113407 h 2523948"/>
              <a:gd name="connsiteX116" fmla="*/ 690261 w 5137844"/>
              <a:gd name="connsiteY116" fmla="*/ 230339 h 2523948"/>
              <a:gd name="connsiteX117" fmla="*/ 162467 w 5137844"/>
              <a:gd name="connsiteY117" fmla="*/ 1145043 h 2523948"/>
              <a:gd name="connsiteX118" fmla="*/ 135606 w 5137844"/>
              <a:gd name="connsiteY118" fmla="*/ 1261974 h 2523948"/>
              <a:gd name="connsiteX119" fmla="*/ 0 w 5137844"/>
              <a:gd name="connsiteY119" fmla="*/ 1261974 h 2523948"/>
              <a:gd name="connsiteX120" fmla="*/ 29513 w 5137844"/>
              <a:gd name="connsiteY120" fmla="*/ 1133497 h 2523948"/>
              <a:gd name="connsiteX121" fmla="*/ 609420 w 5137844"/>
              <a:gd name="connsiteY121" fmla="*/ 128477 h 2523948"/>
              <a:gd name="connsiteX122" fmla="*/ 833098 w 5137844"/>
              <a:gd name="connsiteY122" fmla="*/ 0 h 2523948"/>
              <a:gd name="connsiteX123" fmla="*/ 1974790 w 5137844"/>
              <a:gd name="connsiteY123" fmla="*/ 0 h 2523948"/>
              <a:gd name="connsiteX124" fmla="*/ 1976098 w 5137844"/>
              <a:gd name="connsiteY124" fmla="*/ 0 h 2523948"/>
              <a:gd name="connsiteX125" fmla="*/ 1990647 w 5137844"/>
              <a:gd name="connsiteY125" fmla="*/ 0 h 2523948"/>
              <a:gd name="connsiteX126" fmla="*/ 1992912 w 5137844"/>
              <a:gd name="connsiteY126" fmla="*/ 0 h 2523948"/>
              <a:gd name="connsiteX127" fmla="*/ 2000379 w 5137844"/>
              <a:gd name="connsiteY127" fmla="*/ 0 h 2523948"/>
              <a:gd name="connsiteX128" fmla="*/ 2180255 w 5137844"/>
              <a:gd name="connsiteY128" fmla="*/ 0 h 2523948"/>
              <a:gd name="connsiteX129" fmla="*/ 2204536 w 5137844"/>
              <a:gd name="connsiteY129" fmla="*/ 0 h 2523948"/>
              <a:gd name="connsiteX130" fmla="*/ 2358928 w 5137844"/>
              <a:gd name="connsiteY130" fmla="*/ 0 h 2523948"/>
              <a:gd name="connsiteX131" fmla="*/ 2383208 w 5137844"/>
              <a:gd name="connsiteY131" fmla="*/ 0 h 2523948"/>
              <a:gd name="connsiteX132" fmla="*/ 2513815 w 5137844"/>
              <a:gd name="connsiteY132" fmla="*/ 0 h 2523948"/>
              <a:gd name="connsiteX133" fmla="*/ 2538095 w 5137844"/>
              <a:gd name="connsiteY133" fmla="*/ 0 h 2523948"/>
              <a:gd name="connsiteX134" fmla="*/ 2646616 w 5137844"/>
              <a:gd name="connsiteY134" fmla="*/ 0 h 2523948"/>
              <a:gd name="connsiteX135" fmla="*/ 2670896 w 5137844"/>
              <a:gd name="connsiteY135" fmla="*/ 0 h 2523948"/>
              <a:gd name="connsiteX136" fmla="*/ 2759029 w 5137844"/>
              <a:gd name="connsiteY136" fmla="*/ 0 h 2523948"/>
              <a:gd name="connsiteX137" fmla="*/ 2783310 w 5137844"/>
              <a:gd name="connsiteY137" fmla="*/ 0 h 2523948"/>
              <a:gd name="connsiteX138" fmla="*/ 2852754 w 5137844"/>
              <a:gd name="connsiteY138" fmla="*/ 0 h 2523948"/>
              <a:gd name="connsiteX139" fmla="*/ 2877035 w 5137844"/>
              <a:gd name="connsiteY139" fmla="*/ 0 h 2523948"/>
              <a:gd name="connsiteX140" fmla="*/ 2929490 w 5137844"/>
              <a:gd name="connsiteY140" fmla="*/ 0 h 2523948"/>
              <a:gd name="connsiteX141" fmla="*/ 2953771 w 5137844"/>
              <a:gd name="connsiteY141" fmla="*/ 0 h 2523948"/>
              <a:gd name="connsiteX142" fmla="*/ 2990936 w 5137844"/>
              <a:gd name="connsiteY142" fmla="*/ 0 h 2523948"/>
              <a:gd name="connsiteX143" fmla="*/ 3015216 w 5137844"/>
              <a:gd name="connsiteY143" fmla="*/ 0 h 2523948"/>
              <a:gd name="connsiteX144" fmla="*/ 3074750 w 5137844"/>
              <a:gd name="connsiteY144" fmla="*/ 0 h 2523948"/>
              <a:gd name="connsiteX145" fmla="*/ 3099031 w 5137844"/>
              <a:gd name="connsiteY145" fmla="*/ 0 h 2523948"/>
              <a:gd name="connsiteX146" fmla="*/ 3117790 w 5137844"/>
              <a:gd name="connsiteY146" fmla="*/ 0 h 2523948"/>
              <a:gd name="connsiteX147" fmla="*/ 3135912 w 5137844"/>
              <a:gd name="connsiteY147" fmla="*/ 0 h 2523948"/>
              <a:gd name="connsiteX148" fmla="*/ 3142071 w 5137844"/>
              <a:gd name="connsiteY148" fmla="*/ 0 h 2523948"/>
              <a:gd name="connsiteX149" fmla="*/ 3143379 w 5137844"/>
              <a:gd name="connsiteY149" fmla="*/ 0 h 2523948"/>
              <a:gd name="connsiteX150" fmla="*/ 3157927 w 5137844"/>
              <a:gd name="connsiteY150" fmla="*/ 0 h 2523948"/>
              <a:gd name="connsiteX151" fmla="*/ 3160193 w 5137844"/>
              <a:gd name="connsiteY151" fmla="*/ 0 h 2523948"/>
              <a:gd name="connsiteX152" fmla="*/ 3347536 w 5137844"/>
              <a:gd name="connsiteY152" fmla="*/ 0 h 2523948"/>
              <a:gd name="connsiteX153" fmla="*/ 4303193 w 5137844"/>
              <a:gd name="connsiteY153" fmla="*/ 0 h 2523948"/>
              <a:gd name="connsiteX154" fmla="*/ 4526872 w 5137844"/>
              <a:gd name="connsiteY154" fmla="*/ 128477 h 2523948"/>
              <a:gd name="connsiteX155" fmla="*/ 5106779 w 5137844"/>
              <a:gd name="connsiteY155" fmla="*/ 1133497 h 2523948"/>
              <a:gd name="connsiteX156" fmla="*/ 5106779 w 5137844"/>
              <a:gd name="connsiteY156" fmla="*/ 1390451 h 2523948"/>
              <a:gd name="connsiteX157" fmla="*/ 4526872 w 5137844"/>
              <a:gd name="connsiteY157" fmla="*/ 2395471 h 2523948"/>
              <a:gd name="connsiteX158" fmla="*/ 4303193 w 5137844"/>
              <a:gd name="connsiteY158" fmla="*/ 2523948 h 2523948"/>
              <a:gd name="connsiteX159" fmla="*/ 3160193 w 5137844"/>
              <a:gd name="connsiteY159" fmla="*/ 2523948 h 2523948"/>
              <a:gd name="connsiteX160" fmla="*/ 3143379 w 5137844"/>
              <a:gd name="connsiteY160" fmla="*/ 2523948 h 2523948"/>
              <a:gd name="connsiteX161" fmla="*/ 3135912 w 5137844"/>
              <a:gd name="connsiteY161" fmla="*/ 2523948 h 2523948"/>
              <a:gd name="connsiteX162" fmla="*/ 2000379 w 5137844"/>
              <a:gd name="connsiteY162" fmla="*/ 2523948 h 2523948"/>
              <a:gd name="connsiteX163" fmla="*/ 1992912 w 5137844"/>
              <a:gd name="connsiteY163" fmla="*/ 2523948 h 2523948"/>
              <a:gd name="connsiteX164" fmla="*/ 1976098 w 5137844"/>
              <a:gd name="connsiteY164" fmla="*/ 2523948 h 2523948"/>
              <a:gd name="connsiteX165" fmla="*/ 833098 w 5137844"/>
              <a:gd name="connsiteY165" fmla="*/ 2523948 h 2523948"/>
              <a:gd name="connsiteX166" fmla="*/ 609420 w 5137844"/>
              <a:gd name="connsiteY166" fmla="*/ 2395471 h 2523948"/>
              <a:gd name="connsiteX167" fmla="*/ 29513 w 5137844"/>
              <a:gd name="connsiteY167" fmla="*/ 1390451 h 2523948"/>
              <a:gd name="connsiteX168" fmla="*/ 0 w 5137844"/>
              <a:gd name="connsiteY168" fmla="*/ 1261974 h 2523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5137844" h="2523948">
                <a:moveTo>
                  <a:pt x="135606" y="1261974"/>
                </a:moveTo>
                <a:cubicBezTo>
                  <a:pt x="135606" y="1304409"/>
                  <a:pt x="144559" y="1346843"/>
                  <a:pt x="162467" y="1378906"/>
                </a:cubicBezTo>
                <a:cubicBezTo>
                  <a:pt x="162467" y="1378906"/>
                  <a:pt x="162467" y="1378906"/>
                  <a:pt x="690261" y="2293610"/>
                </a:cubicBezTo>
                <a:cubicBezTo>
                  <a:pt x="727960" y="2357733"/>
                  <a:pt x="820324" y="2410541"/>
                  <a:pt x="893838" y="2410541"/>
                </a:cubicBezTo>
                <a:lnTo>
                  <a:pt x="1084338" y="2410541"/>
                </a:lnTo>
                <a:lnTo>
                  <a:pt x="1934122" y="2410541"/>
                </a:lnTo>
                <a:lnTo>
                  <a:pt x="1949425" y="2410541"/>
                </a:lnTo>
                <a:lnTo>
                  <a:pt x="1956221" y="2410541"/>
                </a:lnTo>
                <a:lnTo>
                  <a:pt x="2124622" y="2410541"/>
                </a:lnTo>
                <a:lnTo>
                  <a:pt x="2139925" y="2410541"/>
                </a:lnTo>
                <a:lnTo>
                  <a:pt x="2146721" y="2410541"/>
                </a:lnTo>
                <a:lnTo>
                  <a:pt x="2989710" y="2410541"/>
                </a:lnTo>
                <a:lnTo>
                  <a:pt x="2996506" y="2410541"/>
                </a:lnTo>
                <a:lnTo>
                  <a:pt x="3011809" y="2410541"/>
                </a:lnTo>
                <a:lnTo>
                  <a:pt x="3180210" y="2410541"/>
                </a:lnTo>
                <a:lnTo>
                  <a:pt x="3187006" y="2410541"/>
                </a:lnTo>
                <a:lnTo>
                  <a:pt x="3202309" y="2410541"/>
                </a:lnTo>
                <a:lnTo>
                  <a:pt x="4052093" y="2410541"/>
                </a:lnTo>
                <a:lnTo>
                  <a:pt x="4242593" y="2410541"/>
                </a:lnTo>
                <a:cubicBezTo>
                  <a:pt x="4317992" y="2410541"/>
                  <a:pt x="4408471" y="2357733"/>
                  <a:pt x="4446171" y="2293610"/>
                </a:cubicBezTo>
                <a:cubicBezTo>
                  <a:pt x="4446171" y="2293610"/>
                  <a:pt x="4446171" y="2293610"/>
                  <a:pt x="4973965" y="1378906"/>
                </a:cubicBezTo>
                <a:cubicBezTo>
                  <a:pt x="5011664" y="1314782"/>
                  <a:pt x="5011664" y="1209166"/>
                  <a:pt x="4973965" y="1145043"/>
                </a:cubicBezTo>
                <a:cubicBezTo>
                  <a:pt x="4973965" y="1145043"/>
                  <a:pt x="4973965" y="1145043"/>
                  <a:pt x="4446171" y="230339"/>
                </a:cubicBezTo>
                <a:cubicBezTo>
                  <a:pt x="4408471" y="166215"/>
                  <a:pt x="4317992" y="113407"/>
                  <a:pt x="4242593" y="113407"/>
                </a:cubicBezTo>
                <a:cubicBezTo>
                  <a:pt x="4242593" y="113407"/>
                  <a:pt x="4242593" y="113407"/>
                  <a:pt x="4133871" y="113407"/>
                </a:cubicBezTo>
                <a:lnTo>
                  <a:pt x="4052093" y="113407"/>
                </a:lnTo>
                <a:lnTo>
                  <a:pt x="4050394" y="113407"/>
                </a:lnTo>
                <a:lnTo>
                  <a:pt x="4038503" y="113407"/>
                </a:lnTo>
                <a:lnTo>
                  <a:pt x="4030245" y="113407"/>
                </a:lnTo>
                <a:lnTo>
                  <a:pt x="4006226" y="113407"/>
                </a:lnTo>
                <a:lnTo>
                  <a:pt x="3943371" y="113407"/>
                </a:lnTo>
                <a:lnTo>
                  <a:pt x="3875656" y="113407"/>
                </a:lnTo>
                <a:lnTo>
                  <a:pt x="3839745" y="113407"/>
                </a:lnTo>
                <a:lnTo>
                  <a:pt x="3776065" y="113407"/>
                </a:lnTo>
                <a:lnTo>
                  <a:pt x="3685156" y="113407"/>
                </a:lnTo>
                <a:lnTo>
                  <a:pt x="3659911" y="113407"/>
                </a:lnTo>
                <a:lnTo>
                  <a:pt x="3585565" y="113407"/>
                </a:lnTo>
                <a:lnTo>
                  <a:pt x="3525919" y="113407"/>
                </a:lnTo>
                <a:lnTo>
                  <a:pt x="3469411" y="113407"/>
                </a:lnTo>
                <a:lnTo>
                  <a:pt x="3372816" y="113407"/>
                </a:lnTo>
                <a:lnTo>
                  <a:pt x="3335419" y="113407"/>
                </a:lnTo>
                <a:lnTo>
                  <a:pt x="3202309" y="113407"/>
                </a:lnTo>
                <a:lnTo>
                  <a:pt x="3200246" y="113407"/>
                </a:lnTo>
                <a:lnTo>
                  <a:pt x="3187006" y="113407"/>
                </a:lnTo>
                <a:lnTo>
                  <a:pt x="3185815" y="113407"/>
                </a:lnTo>
                <a:lnTo>
                  <a:pt x="3182316" y="113407"/>
                </a:lnTo>
                <a:lnTo>
                  <a:pt x="3180210" y="113407"/>
                </a:lnTo>
                <a:cubicBezTo>
                  <a:pt x="3180210" y="113407"/>
                  <a:pt x="3180210" y="113407"/>
                  <a:pt x="3163716" y="113407"/>
                </a:cubicBezTo>
                <a:lnTo>
                  <a:pt x="3146643" y="113407"/>
                </a:lnTo>
                <a:lnTo>
                  <a:pt x="3124544" y="113407"/>
                </a:lnTo>
                <a:lnTo>
                  <a:pt x="3070360" y="113407"/>
                </a:lnTo>
                <a:lnTo>
                  <a:pt x="3048262" y="113407"/>
                </a:lnTo>
                <a:lnTo>
                  <a:pt x="3014437" y="113407"/>
                </a:lnTo>
                <a:lnTo>
                  <a:pt x="3011809" y="113407"/>
                </a:lnTo>
                <a:lnTo>
                  <a:pt x="3009746" y="113407"/>
                </a:lnTo>
                <a:lnTo>
                  <a:pt x="2996506" y="113407"/>
                </a:lnTo>
                <a:lnTo>
                  <a:pt x="2995315" y="113407"/>
                </a:lnTo>
                <a:lnTo>
                  <a:pt x="2992338" y="113407"/>
                </a:lnTo>
                <a:lnTo>
                  <a:pt x="2989710" y="113407"/>
                </a:lnTo>
                <a:lnTo>
                  <a:pt x="2987648" y="113407"/>
                </a:lnTo>
                <a:lnTo>
                  <a:pt x="2973216" y="113407"/>
                </a:lnTo>
                <a:lnTo>
                  <a:pt x="2956143" y="113407"/>
                </a:lnTo>
                <a:lnTo>
                  <a:pt x="2944597" y="113407"/>
                </a:lnTo>
                <a:lnTo>
                  <a:pt x="2934044" y="113407"/>
                </a:lnTo>
                <a:lnTo>
                  <a:pt x="2922498" y="113407"/>
                </a:lnTo>
                <a:lnTo>
                  <a:pt x="2879860" y="113407"/>
                </a:lnTo>
                <a:lnTo>
                  <a:pt x="2859294" y="113407"/>
                </a:lnTo>
                <a:lnTo>
                  <a:pt x="2857762" y="113407"/>
                </a:lnTo>
                <a:lnTo>
                  <a:pt x="2837195" y="113407"/>
                </a:lnTo>
                <a:lnTo>
                  <a:pt x="2823937" y="113407"/>
                </a:lnTo>
                <a:lnTo>
                  <a:pt x="2801838" y="113407"/>
                </a:lnTo>
                <a:lnTo>
                  <a:pt x="2756982" y="113407"/>
                </a:lnTo>
                <a:lnTo>
                  <a:pt x="2754097" y="113407"/>
                </a:lnTo>
                <a:lnTo>
                  <a:pt x="2734884" y="113407"/>
                </a:lnTo>
                <a:lnTo>
                  <a:pt x="2731998" y="113407"/>
                </a:lnTo>
                <a:lnTo>
                  <a:pt x="2668794" y="113407"/>
                </a:lnTo>
                <a:lnTo>
                  <a:pt x="2646695" y="113407"/>
                </a:lnTo>
                <a:lnTo>
                  <a:pt x="2636115" y="113407"/>
                </a:lnTo>
                <a:lnTo>
                  <a:pt x="2614017" y="113407"/>
                </a:lnTo>
                <a:lnTo>
                  <a:pt x="2566482" y="113407"/>
                </a:lnTo>
                <a:lnTo>
                  <a:pt x="2544384" y="113407"/>
                </a:lnTo>
                <a:lnTo>
                  <a:pt x="2495147" y="113407"/>
                </a:lnTo>
                <a:lnTo>
                  <a:pt x="2473049" y="113407"/>
                </a:lnTo>
                <a:lnTo>
                  <a:pt x="2445615" y="113407"/>
                </a:lnTo>
                <a:lnTo>
                  <a:pt x="2423517" y="113407"/>
                </a:lnTo>
                <a:lnTo>
                  <a:pt x="2332532" y="113407"/>
                </a:lnTo>
                <a:lnTo>
                  <a:pt x="2310433" y="113407"/>
                </a:lnTo>
                <a:lnTo>
                  <a:pt x="2304647" y="113407"/>
                </a:lnTo>
                <a:lnTo>
                  <a:pt x="2282549" y="113407"/>
                </a:lnTo>
                <a:lnTo>
                  <a:pt x="2146721" y="113407"/>
                </a:lnTo>
                <a:lnTo>
                  <a:pt x="2142032" y="113407"/>
                </a:lnTo>
                <a:lnTo>
                  <a:pt x="2139925" y="113407"/>
                </a:lnTo>
                <a:lnTo>
                  <a:pt x="2137864" y="113407"/>
                </a:lnTo>
                <a:lnTo>
                  <a:pt x="2124622" y="113407"/>
                </a:lnTo>
                <a:lnTo>
                  <a:pt x="2123432" y="113407"/>
                </a:lnTo>
                <a:lnTo>
                  <a:pt x="2119933" y="113407"/>
                </a:lnTo>
                <a:lnTo>
                  <a:pt x="2097049" y="113407"/>
                </a:lnTo>
                <a:cubicBezTo>
                  <a:pt x="2073661" y="113407"/>
                  <a:pt x="2037517" y="113407"/>
                  <a:pt x="1981658" y="113407"/>
                </a:cubicBezTo>
                <a:lnTo>
                  <a:pt x="1956221" y="113407"/>
                </a:lnTo>
                <a:lnTo>
                  <a:pt x="1949425" y="113407"/>
                </a:lnTo>
                <a:lnTo>
                  <a:pt x="1947364" y="113407"/>
                </a:lnTo>
                <a:lnTo>
                  <a:pt x="1934122" y="113407"/>
                </a:lnTo>
                <a:lnTo>
                  <a:pt x="1932932" y="113407"/>
                </a:lnTo>
                <a:lnTo>
                  <a:pt x="1906549" y="113407"/>
                </a:lnTo>
                <a:lnTo>
                  <a:pt x="1882214" y="113407"/>
                </a:lnTo>
                <a:lnTo>
                  <a:pt x="1861030" y="113407"/>
                </a:lnTo>
                <a:lnTo>
                  <a:pt x="1791158" y="113407"/>
                </a:lnTo>
                <a:lnTo>
                  <a:pt x="1747978" y="113407"/>
                </a:lnTo>
                <a:lnTo>
                  <a:pt x="1691714" y="113407"/>
                </a:lnTo>
                <a:lnTo>
                  <a:pt x="1573733" y="113407"/>
                </a:lnTo>
                <a:lnTo>
                  <a:pt x="1557478" y="113407"/>
                </a:lnTo>
                <a:lnTo>
                  <a:pt x="1383233" y="113407"/>
                </a:lnTo>
                <a:lnTo>
                  <a:pt x="1354259" y="113407"/>
                </a:lnTo>
                <a:lnTo>
                  <a:pt x="1163759" y="113407"/>
                </a:lnTo>
                <a:lnTo>
                  <a:pt x="1084338" y="113407"/>
                </a:lnTo>
                <a:lnTo>
                  <a:pt x="893838" y="113407"/>
                </a:lnTo>
                <a:cubicBezTo>
                  <a:pt x="820324" y="113407"/>
                  <a:pt x="727960" y="166215"/>
                  <a:pt x="690261" y="230339"/>
                </a:cubicBezTo>
                <a:cubicBezTo>
                  <a:pt x="690261" y="230339"/>
                  <a:pt x="690261" y="230339"/>
                  <a:pt x="162467" y="1145043"/>
                </a:cubicBezTo>
                <a:cubicBezTo>
                  <a:pt x="144559" y="1177105"/>
                  <a:pt x="135606" y="1219539"/>
                  <a:pt x="135606" y="1261974"/>
                </a:cubicBezTo>
                <a:close/>
                <a:moveTo>
                  <a:pt x="0" y="1261974"/>
                </a:moveTo>
                <a:cubicBezTo>
                  <a:pt x="0" y="1215349"/>
                  <a:pt x="9837" y="1168725"/>
                  <a:pt x="29513" y="1133497"/>
                </a:cubicBezTo>
                <a:cubicBezTo>
                  <a:pt x="609420" y="128477"/>
                  <a:pt x="609420" y="128477"/>
                  <a:pt x="609420" y="128477"/>
                </a:cubicBezTo>
                <a:cubicBezTo>
                  <a:pt x="650842" y="58022"/>
                  <a:pt x="752325" y="0"/>
                  <a:pt x="833098" y="0"/>
                </a:cubicBezTo>
                <a:cubicBezTo>
                  <a:pt x="1702959" y="0"/>
                  <a:pt x="1920424" y="0"/>
                  <a:pt x="1974790" y="0"/>
                </a:cubicBezTo>
                <a:lnTo>
                  <a:pt x="1976098" y="0"/>
                </a:lnTo>
                <a:lnTo>
                  <a:pt x="1990647" y="0"/>
                </a:lnTo>
                <a:lnTo>
                  <a:pt x="1992912" y="0"/>
                </a:lnTo>
                <a:lnTo>
                  <a:pt x="2000379" y="0"/>
                </a:lnTo>
                <a:lnTo>
                  <a:pt x="2180255" y="0"/>
                </a:lnTo>
                <a:lnTo>
                  <a:pt x="2204536" y="0"/>
                </a:lnTo>
                <a:lnTo>
                  <a:pt x="2358928" y="0"/>
                </a:lnTo>
                <a:lnTo>
                  <a:pt x="2383208" y="0"/>
                </a:lnTo>
                <a:lnTo>
                  <a:pt x="2513815" y="0"/>
                </a:lnTo>
                <a:lnTo>
                  <a:pt x="2538095" y="0"/>
                </a:lnTo>
                <a:lnTo>
                  <a:pt x="2646616" y="0"/>
                </a:lnTo>
                <a:lnTo>
                  <a:pt x="2670896" y="0"/>
                </a:lnTo>
                <a:lnTo>
                  <a:pt x="2759029" y="0"/>
                </a:lnTo>
                <a:lnTo>
                  <a:pt x="2783310" y="0"/>
                </a:lnTo>
                <a:lnTo>
                  <a:pt x="2852754" y="0"/>
                </a:lnTo>
                <a:lnTo>
                  <a:pt x="2877035" y="0"/>
                </a:lnTo>
                <a:lnTo>
                  <a:pt x="2929490" y="0"/>
                </a:lnTo>
                <a:lnTo>
                  <a:pt x="2953771" y="0"/>
                </a:lnTo>
                <a:lnTo>
                  <a:pt x="2990936" y="0"/>
                </a:lnTo>
                <a:lnTo>
                  <a:pt x="3015216" y="0"/>
                </a:lnTo>
                <a:lnTo>
                  <a:pt x="3074750" y="0"/>
                </a:lnTo>
                <a:lnTo>
                  <a:pt x="3099031" y="0"/>
                </a:lnTo>
                <a:lnTo>
                  <a:pt x="3117790" y="0"/>
                </a:lnTo>
                <a:cubicBezTo>
                  <a:pt x="3135912" y="0"/>
                  <a:pt x="3135912" y="0"/>
                  <a:pt x="3135912" y="0"/>
                </a:cubicBezTo>
                <a:lnTo>
                  <a:pt x="3142071" y="0"/>
                </a:lnTo>
                <a:lnTo>
                  <a:pt x="3143379" y="0"/>
                </a:lnTo>
                <a:lnTo>
                  <a:pt x="3157927" y="0"/>
                </a:lnTo>
                <a:lnTo>
                  <a:pt x="3160193" y="0"/>
                </a:lnTo>
                <a:lnTo>
                  <a:pt x="3347536" y="0"/>
                </a:lnTo>
                <a:cubicBezTo>
                  <a:pt x="4303193" y="0"/>
                  <a:pt x="4303193" y="0"/>
                  <a:pt x="4303193" y="0"/>
                </a:cubicBezTo>
                <a:cubicBezTo>
                  <a:pt x="4386037" y="0"/>
                  <a:pt x="4485449" y="58022"/>
                  <a:pt x="4526872" y="128477"/>
                </a:cubicBezTo>
                <a:cubicBezTo>
                  <a:pt x="5106779" y="1133497"/>
                  <a:pt x="5106779" y="1133497"/>
                  <a:pt x="5106779" y="1133497"/>
                </a:cubicBezTo>
                <a:cubicBezTo>
                  <a:pt x="5148200" y="1203952"/>
                  <a:pt x="5148200" y="1319996"/>
                  <a:pt x="5106779" y="1390451"/>
                </a:cubicBezTo>
                <a:cubicBezTo>
                  <a:pt x="4526872" y="2395471"/>
                  <a:pt x="4526872" y="2395471"/>
                  <a:pt x="4526872" y="2395471"/>
                </a:cubicBezTo>
                <a:cubicBezTo>
                  <a:pt x="4485449" y="2465926"/>
                  <a:pt x="4386037" y="2523948"/>
                  <a:pt x="4303193" y="2523948"/>
                </a:cubicBezTo>
                <a:lnTo>
                  <a:pt x="3160193" y="2523948"/>
                </a:lnTo>
                <a:lnTo>
                  <a:pt x="3143379" y="2523948"/>
                </a:lnTo>
                <a:lnTo>
                  <a:pt x="3135912" y="2523948"/>
                </a:lnTo>
                <a:lnTo>
                  <a:pt x="2000379" y="2523948"/>
                </a:lnTo>
                <a:lnTo>
                  <a:pt x="1992912" y="2523948"/>
                </a:lnTo>
                <a:lnTo>
                  <a:pt x="1976098" y="2523948"/>
                </a:lnTo>
                <a:lnTo>
                  <a:pt x="833098" y="2523948"/>
                </a:lnTo>
                <a:cubicBezTo>
                  <a:pt x="752325" y="2523948"/>
                  <a:pt x="650842" y="2465926"/>
                  <a:pt x="609420" y="2395471"/>
                </a:cubicBezTo>
                <a:cubicBezTo>
                  <a:pt x="29513" y="1390451"/>
                  <a:pt x="29513" y="1390451"/>
                  <a:pt x="29513" y="1390451"/>
                </a:cubicBezTo>
                <a:cubicBezTo>
                  <a:pt x="9837" y="1355223"/>
                  <a:pt x="0" y="1308599"/>
                  <a:pt x="0" y="1261974"/>
                </a:cubicBezTo>
                <a:close/>
              </a:path>
            </a:pathLst>
          </a:custGeom>
          <a:solidFill>
            <a:srgbClr val="02919F"/>
          </a:solidFill>
          <a:ln w="25400">
            <a:solidFill>
              <a:srgbClr val="02919F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 sz="2000">
              <a:solidFill>
                <a:prstClr val="black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4" name="任意多边形 70"/>
          <p:cNvSpPr>
            <a:spLocks/>
          </p:cNvSpPr>
          <p:nvPr/>
        </p:nvSpPr>
        <p:spPr bwMode="auto">
          <a:xfrm rot="5400000">
            <a:off x="64189" y="4109898"/>
            <a:ext cx="2273437" cy="1760195"/>
          </a:xfrm>
          <a:custGeom>
            <a:avLst/>
            <a:gdLst>
              <a:gd name="connsiteX0" fmla="*/ 135606 w 5137844"/>
              <a:gd name="connsiteY0" fmla="*/ 1261974 h 2523948"/>
              <a:gd name="connsiteX1" fmla="*/ 162467 w 5137844"/>
              <a:gd name="connsiteY1" fmla="*/ 1378906 h 2523948"/>
              <a:gd name="connsiteX2" fmla="*/ 690261 w 5137844"/>
              <a:gd name="connsiteY2" fmla="*/ 2293610 h 2523948"/>
              <a:gd name="connsiteX3" fmla="*/ 893838 w 5137844"/>
              <a:gd name="connsiteY3" fmla="*/ 2410541 h 2523948"/>
              <a:gd name="connsiteX4" fmla="*/ 1084338 w 5137844"/>
              <a:gd name="connsiteY4" fmla="*/ 2410541 h 2523948"/>
              <a:gd name="connsiteX5" fmla="*/ 1934122 w 5137844"/>
              <a:gd name="connsiteY5" fmla="*/ 2410541 h 2523948"/>
              <a:gd name="connsiteX6" fmla="*/ 1949425 w 5137844"/>
              <a:gd name="connsiteY6" fmla="*/ 2410541 h 2523948"/>
              <a:gd name="connsiteX7" fmla="*/ 1956221 w 5137844"/>
              <a:gd name="connsiteY7" fmla="*/ 2410541 h 2523948"/>
              <a:gd name="connsiteX8" fmla="*/ 2124622 w 5137844"/>
              <a:gd name="connsiteY8" fmla="*/ 2410541 h 2523948"/>
              <a:gd name="connsiteX9" fmla="*/ 2139925 w 5137844"/>
              <a:gd name="connsiteY9" fmla="*/ 2410541 h 2523948"/>
              <a:gd name="connsiteX10" fmla="*/ 2146721 w 5137844"/>
              <a:gd name="connsiteY10" fmla="*/ 2410541 h 2523948"/>
              <a:gd name="connsiteX11" fmla="*/ 2989710 w 5137844"/>
              <a:gd name="connsiteY11" fmla="*/ 2410541 h 2523948"/>
              <a:gd name="connsiteX12" fmla="*/ 2996506 w 5137844"/>
              <a:gd name="connsiteY12" fmla="*/ 2410541 h 2523948"/>
              <a:gd name="connsiteX13" fmla="*/ 3011809 w 5137844"/>
              <a:gd name="connsiteY13" fmla="*/ 2410541 h 2523948"/>
              <a:gd name="connsiteX14" fmla="*/ 3180210 w 5137844"/>
              <a:gd name="connsiteY14" fmla="*/ 2410541 h 2523948"/>
              <a:gd name="connsiteX15" fmla="*/ 3187006 w 5137844"/>
              <a:gd name="connsiteY15" fmla="*/ 2410541 h 2523948"/>
              <a:gd name="connsiteX16" fmla="*/ 3202309 w 5137844"/>
              <a:gd name="connsiteY16" fmla="*/ 2410541 h 2523948"/>
              <a:gd name="connsiteX17" fmla="*/ 4052093 w 5137844"/>
              <a:gd name="connsiteY17" fmla="*/ 2410541 h 2523948"/>
              <a:gd name="connsiteX18" fmla="*/ 4242593 w 5137844"/>
              <a:gd name="connsiteY18" fmla="*/ 2410541 h 2523948"/>
              <a:gd name="connsiteX19" fmla="*/ 4446171 w 5137844"/>
              <a:gd name="connsiteY19" fmla="*/ 2293610 h 2523948"/>
              <a:gd name="connsiteX20" fmla="*/ 4973965 w 5137844"/>
              <a:gd name="connsiteY20" fmla="*/ 1378906 h 2523948"/>
              <a:gd name="connsiteX21" fmla="*/ 4973965 w 5137844"/>
              <a:gd name="connsiteY21" fmla="*/ 1145043 h 2523948"/>
              <a:gd name="connsiteX22" fmla="*/ 4446171 w 5137844"/>
              <a:gd name="connsiteY22" fmla="*/ 230339 h 2523948"/>
              <a:gd name="connsiteX23" fmla="*/ 4242593 w 5137844"/>
              <a:gd name="connsiteY23" fmla="*/ 113407 h 2523948"/>
              <a:gd name="connsiteX24" fmla="*/ 4133871 w 5137844"/>
              <a:gd name="connsiteY24" fmla="*/ 113407 h 2523948"/>
              <a:gd name="connsiteX25" fmla="*/ 4052093 w 5137844"/>
              <a:gd name="connsiteY25" fmla="*/ 113407 h 2523948"/>
              <a:gd name="connsiteX26" fmla="*/ 4050394 w 5137844"/>
              <a:gd name="connsiteY26" fmla="*/ 113407 h 2523948"/>
              <a:gd name="connsiteX27" fmla="*/ 4038503 w 5137844"/>
              <a:gd name="connsiteY27" fmla="*/ 113407 h 2523948"/>
              <a:gd name="connsiteX28" fmla="*/ 4030245 w 5137844"/>
              <a:gd name="connsiteY28" fmla="*/ 113407 h 2523948"/>
              <a:gd name="connsiteX29" fmla="*/ 4006226 w 5137844"/>
              <a:gd name="connsiteY29" fmla="*/ 113407 h 2523948"/>
              <a:gd name="connsiteX30" fmla="*/ 3943371 w 5137844"/>
              <a:gd name="connsiteY30" fmla="*/ 113407 h 2523948"/>
              <a:gd name="connsiteX31" fmla="*/ 3875656 w 5137844"/>
              <a:gd name="connsiteY31" fmla="*/ 113407 h 2523948"/>
              <a:gd name="connsiteX32" fmla="*/ 3839745 w 5137844"/>
              <a:gd name="connsiteY32" fmla="*/ 113407 h 2523948"/>
              <a:gd name="connsiteX33" fmla="*/ 3776065 w 5137844"/>
              <a:gd name="connsiteY33" fmla="*/ 113407 h 2523948"/>
              <a:gd name="connsiteX34" fmla="*/ 3685156 w 5137844"/>
              <a:gd name="connsiteY34" fmla="*/ 113407 h 2523948"/>
              <a:gd name="connsiteX35" fmla="*/ 3659911 w 5137844"/>
              <a:gd name="connsiteY35" fmla="*/ 113407 h 2523948"/>
              <a:gd name="connsiteX36" fmla="*/ 3585565 w 5137844"/>
              <a:gd name="connsiteY36" fmla="*/ 113407 h 2523948"/>
              <a:gd name="connsiteX37" fmla="*/ 3525919 w 5137844"/>
              <a:gd name="connsiteY37" fmla="*/ 113407 h 2523948"/>
              <a:gd name="connsiteX38" fmla="*/ 3469411 w 5137844"/>
              <a:gd name="connsiteY38" fmla="*/ 113407 h 2523948"/>
              <a:gd name="connsiteX39" fmla="*/ 3372816 w 5137844"/>
              <a:gd name="connsiteY39" fmla="*/ 113407 h 2523948"/>
              <a:gd name="connsiteX40" fmla="*/ 3335419 w 5137844"/>
              <a:gd name="connsiteY40" fmla="*/ 113407 h 2523948"/>
              <a:gd name="connsiteX41" fmla="*/ 3202309 w 5137844"/>
              <a:gd name="connsiteY41" fmla="*/ 113407 h 2523948"/>
              <a:gd name="connsiteX42" fmla="*/ 3200246 w 5137844"/>
              <a:gd name="connsiteY42" fmla="*/ 113407 h 2523948"/>
              <a:gd name="connsiteX43" fmla="*/ 3187006 w 5137844"/>
              <a:gd name="connsiteY43" fmla="*/ 113407 h 2523948"/>
              <a:gd name="connsiteX44" fmla="*/ 3185815 w 5137844"/>
              <a:gd name="connsiteY44" fmla="*/ 113407 h 2523948"/>
              <a:gd name="connsiteX45" fmla="*/ 3182316 w 5137844"/>
              <a:gd name="connsiteY45" fmla="*/ 113407 h 2523948"/>
              <a:gd name="connsiteX46" fmla="*/ 3180210 w 5137844"/>
              <a:gd name="connsiteY46" fmla="*/ 113407 h 2523948"/>
              <a:gd name="connsiteX47" fmla="*/ 3163716 w 5137844"/>
              <a:gd name="connsiteY47" fmla="*/ 113407 h 2523948"/>
              <a:gd name="connsiteX48" fmla="*/ 3146643 w 5137844"/>
              <a:gd name="connsiteY48" fmla="*/ 113407 h 2523948"/>
              <a:gd name="connsiteX49" fmla="*/ 3124544 w 5137844"/>
              <a:gd name="connsiteY49" fmla="*/ 113407 h 2523948"/>
              <a:gd name="connsiteX50" fmla="*/ 3070360 w 5137844"/>
              <a:gd name="connsiteY50" fmla="*/ 113407 h 2523948"/>
              <a:gd name="connsiteX51" fmla="*/ 3048262 w 5137844"/>
              <a:gd name="connsiteY51" fmla="*/ 113407 h 2523948"/>
              <a:gd name="connsiteX52" fmla="*/ 3014437 w 5137844"/>
              <a:gd name="connsiteY52" fmla="*/ 113407 h 2523948"/>
              <a:gd name="connsiteX53" fmla="*/ 3011809 w 5137844"/>
              <a:gd name="connsiteY53" fmla="*/ 113407 h 2523948"/>
              <a:gd name="connsiteX54" fmla="*/ 3009746 w 5137844"/>
              <a:gd name="connsiteY54" fmla="*/ 113407 h 2523948"/>
              <a:gd name="connsiteX55" fmla="*/ 2996506 w 5137844"/>
              <a:gd name="connsiteY55" fmla="*/ 113407 h 2523948"/>
              <a:gd name="connsiteX56" fmla="*/ 2995315 w 5137844"/>
              <a:gd name="connsiteY56" fmla="*/ 113407 h 2523948"/>
              <a:gd name="connsiteX57" fmla="*/ 2992338 w 5137844"/>
              <a:gd name="connsiteY57" fmla="*/ 113407 h 2523948"/>
              <a:gd name="connsiteX58" fmla="*/ 2989710 w 5137844"/>
              <a:gd name="connsiteY58" fmla="*/ 113407 h 2523948"/>
              <a:gd name="connsiteX59" fmla="*/ 2987648 w 5137844"/>
              <a:gd name="connsiteY59" fmla="*/ 113407 h 2523948"/>
              <a:gd name="connsiteX60" fmla="*/ 2973216 w 5137844"/>
              <a:gd name="connsiteY60" fmla="*/ 113407 h 2523948"/>
              <a:gd name="connsiteX61" fmla="*/ 2956143 w 5137844"/>
              <a:gd name="connsiteY61" fmla="*/ 113407 h 2523948"/>
              <a:gd name="connsiteX62" fmla="*/ 2944597 w 5137844"/>
              <a:gd name="connsiteY62" fmla="*/ 113407 h 2523948"/>
              <a:gd name="connsiteX63" fmla="*/ 2934044 w 5137844"/>
              <a:gd name="connsiteY63" fmla="*/ 113407 h 2523948"/>
              <a:gd name="connsiteX64" fmla="*/ 2922498 w 5137844"/>
              <a:gd name="connsiteY64" fmla="*/ 113407 h 2523948"/>
              <a:gd name="connsiteX65" fmla="*/ 2879860 w 5137844"/>
              <a:gd name="connsiteY65" fmla="*/ 113407 h 2523948"/>
              <a:gd name="connsiteX66" fmla="*/ 2859294 w 5137844"/>
              <a:gd name="connsiteY66" fmla="*/ 113407 h 2523948"/>
              <a:gd name="connsiteX67" fmla="*/ 2857762 w 5137844"/>
              <a:gd name="connsiteY67" fmla="*/ 113407 h 2523948"/>
              <a:gd name="connsiteX68" fmla="*/ 2837195 w 5137844"/>
              <a:gd name="connsiteY68" fmla="*/ 113407 h 2523948"/>
              <a:gd name="connsiteX69" fmla="*/ 2823937 w 5137844"/>
              <a:gd name="connsiteY69" fmla="*/ 113407 h 2523948"/>
              <a:gd name="connsiteX70" fmla="*/ 2801838 w 5137844"/>
              <a:gd name="connsiteY70" fmla="*/ 113407 h 2523948"/>
              <a:gd name="connsiteX71" fmla="*/ 2756982 w 5137844"/>
              <a:gd name="connsiteY71" fmla="*/ 113407 h 2523948"/>
              <a:gd name="connsiteX72" fmla="*/ 2754097 w 5137844"/>
              <a:gd name="connsiteY72" fmla="*/ 113407 h 2523948"/>
              <a:gd name="connsiteX73" fmla="*/ 2734884 w 5137844"/>
              <a:gd name="connsiteY73" fmla="*/ 113407 h 2523948"/>
              <a:gd name="connsiteX74" fmla="*/ 2731998 w 5137844"/>
              <a:gd name="connsiteY74" fmla="*/ 113407 h 2523948"/>
              <a:gd name="connsiteX75" fmla="*/ 2668794 w 5137844"/>
              <a:gd name="connsiteY75" fmla="*/ 113407 h 2523948"/>
              <a:gd name="connsiteX76" fmla="*/ 2646695 w 5137844"/>
              <a:gd name="connsiteY76" fmla="*/ 113407 h 2523948"/>
              <a:gd name="connsiteX77" fmla="*/ 2636115 w 5137844"/>
              <a:gd name="connsiteY77" fmla="*/ 113407 h 2523948"/>
              <a:gd name="connsiteX78" fmla="*/ 2614017 w 5137844"/>
              <a:gd name="connsiteY78" fmla="*/ 113407 h 2523948"/>
              <a:gd name="connsiteX79" fmla="*/ 2566482 w 5137844"/>
              <a:gd name="connsiteY79" fmla="*/ 113407 h 2523948"/>
              <a:gd name="connsiteX80" fmla="*/ 2544384 w 5137844"/>
              <a:gd name="connsiteY80" fmla="*/ 113407 h 2523948"/>
              <a:gd name="connsiteX81" fmla="*/ 2495147 w 5137844"/>
              <a:gd name="connsiteY81" fmla="*/ 113407 h 2523948"/>
              <a:gd name="connsiteX82" fmla="*/ 2473049 w 5137844"/>
              <a:gd name="connsiteY82" fmla="*/ 113407 h 2523948"/>
              <a:gd name="connsiteX83" fmla="*/ 2445615 w 5137844"/>
              <a:gd name="connsiteY83" fmla="*/ 113407 h 2523948"/>
              <a:gd name="connsiteX84" fmla="*/ 2423517 w 5137844"/>
              <a:gd name="connsiteY84" fmla="*/ 113407 h 2523948"/>
              <a:gd name="connsiteX85" fmla="*/ 2332532 w 5137844"/>
              <a:gd name="connsiteY85" fmla="*/ 113407 h 2523948"/>
              <a:gd name="connsiteX86" fmla="*/ 2310433 w 5137844"/>
              <a:gd name="connsiteY86" fmla="*/ 113407 h 2523948"/>
              <a:gd name="connsiteX87" fmla="*/ 2304647 w 5137844"/>
              <a:gd name="connsiteY87" fmla="*/ 113407 h 2523948"/>
              <a:gd name="connsiteX88" fmla="*/ 2282549 w 5137844"/>
              <a:gd name="connsiteY88" fmla="*/ 113407 h 2523948"/>
              <a:gd name="connsiteX89" fmla="*/ 2146721 w 5137844"/>
              <a:gd name="connsiteY89" fmla="*/ 113407 h 2523948"/>
              <a:gd name="connsiteX90" fmla="*/ 2142032 w 5137844"/>
              <a:gd name="connsiteY90" fmla="*/ 113407 h 2523948"/>
              <a:gd name="connsiteX91" fmla="*/ 2139925 w 5137844"/>
              <a:gd name="connsiteY91" fmla="*/ 113407 h 2523948"/>
              <a:gd name="connsiteX92" fmla="*/ 2137864 w 5137844"/>
              <a:gd name="connsiteY92" fmla="*/ 113407 h 2523948"/>
              <a:gd name="connsiteX93" fmla="*/ 2124622 w 5137844"/>
              <a:gd name="connsiteY93" fmla="*/ 113407 h 2523948"/>
              <a:gd name="connsiteX94" fmla="*/ 2123432 w 5137844"/>
              <a:gd name="connsiteY94" fmla="*/ 113407 h 2523948"/>
              <a:gd name="connsiteX95" fmla="*/ 2119933 w 5137844"/>
              <a:gd name="connsiteY95" fmla="*/ 113407 h 2523948"/>
              <a:gd name="connsiteX96" fmla="*/ 2097049 w 5137844"/>
              <a:gd name="connsiteY96" fmla="*/ 113407 h 2523948"/>
              <a:gd name="connsiteX97" fmla="*/ 1981658 w 5137844"/>
              <a:gd name="connsiteY97" fmla="*/ 113407 h 2523948"/>
              <a:gd name="connsiteX98" fmla="*/ 1956221 w 5137844"/>
              <a:gd name="connsiteY98" fmla="*/ 113407 h 2523948"/>
              <a:gd name="connsiteX99" fmla="*/ 1949425 w 5137844"/>
              <a:gd name="connsiteY99" fmla="*/ 113407 h 2523948"/>
              <a:gd name="connsiteX100" fmla="*/ 1947364 w 5137844"/>
              <a:gd name="connsiteY100" fmla="*/ 113407 h 2523948"/>
              <a:gd name="connsiteX101" fmla="*/ 1934122 w 5137844"/>
              <a:gd name="connsiteY101" fmla="*/ 113407 h 2523948"/>
              <a:gd name="connsiteX102" fmla="*/ 1932932 w 5137844"/>
              <a:gd name="connsiteY102" fmla="*/ 113407 h 2523948"/>
              <a:gd name="connsiteX103" fmla="*/ 1906549 w 5137844"/>
              <a:gd name="connsiteY103" fmla="*/ 113407 h 2523948"/>
              <a:gd name="connsiteX104" fmla="*/ 1882214 w 5137844"/>
              <a:gd name="connsiteY104" fmla="*/ 113407 h 2523948"/>
              <a:gd name="connsiteX105" fmla="*/ 1861030 w 5137844"/>
              <a:gd name="connsiteY105" fmla="*/ 113407 h 2523948"/>
              <a:gd name="connsiteX106" fmla="*/ 1791158 w 5137844"/>
              <a:gd name="connsiteY106" fmla="*/ 113407 h 2523948"/>
              <a:gd name="connsiteX107" fmla="*/ 1747978 w 5137844"/>
              <a:gd name="connsiteY107" fmla="*/ 113407 h 2523948"/>
              <a:gd name="connsiteX108" fmla="*/ 1691714 w 5137844"/>
              <a:gd name="connsiteY108" fmla="*/ 113407 h 2523948"/>
              <a:gd name="connsiteX109" fmla="*/ 1573733 w 5137844"/>
              <a:gd name="connsiteY109" fmla="*/ 113407 h 2523948"/>
              <a:gd name="connsiteX110" fmla="*/ 1557478 w 5137844"/>
              <a:gd name="connsiteY110" fmla="*/ 113407 h 2523948"/>
              <a:gd name="connsiteX111" fmla="*/ 1383233 w 5137844"/>
              <a:gd name="connsiteY111" fmla="*/ 113407 h 2523948"/>
              <a:gd name="connsiteX112" fmla="*/ 1354259 w 5137844"/>
              <a:gd name="connsiteY112" fmla="*/ 113407 h 2523948"/>
              <a:gd name="connsiteX113" fmla="*/ 1163759 w 5137844"/>
              <a:gd name="connsiteY113" fmla="*/ 113407 h 2523948"/>
              <a:gd name="connsiteX114" fmla="*/ 1084338 w 5137844"/>
              <a:gd name="connsiteY114" fmla="*/ 113407 h 2523948"/>
              <a:gd name="connsiteX115" fmla="*/ 893838 w 5137844"/>
              <a:gd name="connsiteY115" fmla="*/ 113407 h 2523948"/>
              <a:gd name="connsiteX116" fmla="*/ 690261 w 5137844"/>
              <a:gd name="connsiteY116" fmla="*/ 230339 h 2523948"/>
              <a:gd name="connsiteX117" fmla="*/ 162467 w 5137844"/>
              <a:gd name="connsiteY117" fmla="*/ 1145043 h 2523948"/>
              <a:gd name="connsiteX118" fmla="*/ 135606 w 5137844"/>
              <a:gd name="connsiteY118" fmla="*/ 1261974 h 2523948"/>
              <a:gd name="connsiteX119" fmla="*/ 0 w 5137844"/>
              <a:gd name="connsiteY119" fmla="*/ 1261974 h 2523948"/>
              <a:gd name="connsiteX120" fmla="*/ 29513 w 5137844"/>
              <a:gd name="connsiteY120" fmla="*/ 1133497 h 2523948"/>
              <a:gd name="connsiteX121" fmla="*/ 609420 w 5137844"/>
              <a:gd name="connsiteY121" fmla="*/ 128477 h 2523948"/>
              <a:gd name="connsiteX122" fmla="*/ 833098 w 5137844"/>
              <a:gd name="connsiteY122" fmla="*/ 0 h 2523948"/>
              <a:gd name="connsiteX123" fmla="*/ 1974790 w 5137844"/>
              <a:gd name="connsiteY123" fmla="*/ 0 h 2523948"/>
              <a:gd name="connsiteX124" fmla="*/ 1976098 w 5137844"/>
              <a:gd name="connsiteY124" fmla="*/ 0 h 2523948"/>
              <a:gd name="connsiteX125" fmla="*/ 1990647 w 5137844"/>
              <a:gd name="connsiteY125" fmla="*/ 0 h 2523948"/>
              <a:gd name="connsiteX126" fmla="*/ 1992912 w 5137844"/>
              <a:gd name="connsiteY126" fmla="*/ 0 h 2523948"/>
              <a:gd name="connsiteX127" fmla="*/ 2000379 w 5137844"/>
              <a:gd name="connsiteY127" fmla="*/ 0 h 2523948"/>
              <a:gd name="connsiteX128" fmla="*/ 2180255 w 5137844"/>
              <a:gd name="connsiteY128" fmla="*/ 0 h 2523948"/>
              <a:gd name="connsiteX129" fmla="*/ 2204536 w 5137844"/>
              <a:gd name="connsiteY129" fmla="*/ 0 h 2523948"/>
              <a:gd name="connsiteX130" fmla="*/ 2358928 w 5137844"/>
              <a:gd name="connsiteY130" fmla="*/ 0 h 2523948"/>
              <a:gd name="connsiteX131" fmla="*/ 2383208 w 5137844"/>
              <a:gd name="connsiteY131" fmla="*/ 0 h 2523948"/>
              <a:gd name="connsiteX132" fmla="*/ 2513815 w 5137844"/>
              <a:gd name="connsiteY132" fmla="*/ 0 h 2523948"/>
              <a:gd name="connsiteX133" fmla="*/ 2538095 w 5137844"/>
              <a:gd name="connsiteY133" fmla="*/ 0 h 2523948"/>
              <a:gd name="connsiteX134" fmla="*/ 2646616 w 5137844"/>
              <a:gd name="connsiteY134" fmla="*/ 0 h 2523948"/>
              <a:gd name="connsiteX135" fmla="*/ 2670896 w 5137844"/>
              <a:gd name="connsiteY135" fmla="*/ 0 h 2523948"/>
              <a:gd name="connsiteX136" fmla="*/ 2759029 w 5137844"/>
              <a:gd name="connsiteY136" fmla="*/ 0 h 2523948"/>
              <a:gd name="connsiteX137" fmla="*/ 2783310 w 5137844"/>
              <a:gd name="connsiteY137" fmla="*/ 0 h 2523948"/>
              <a:gd name="connsiteX138" fmla="*/ 2852754 w 5137844"/>
              <a:gd name="connsiteY138" fmla="*/ 0 h 2523948"/>
              <a:gd name="connsiteX139" fmla="*/ 2877035 w 5137844"/>
              <a:gd name="connsiteY139" fmla="*/ 0 h 2523948"/>
              <a:gd name="connsiteX140" fmla="*/ 2929490 w 5137844"/>
              <a:gd name="connsiteY140" fmla="*/ 0 h 2523948"/>
              <a:gd name="connsiteX141" fmla="*/ 2953771 w 5137844"/>
              <a:gd name="connsiteY141" fmla="*/ 0 h 2523948"/>
              <a:gd name="connsiteX142" fmla="*/ 2990936 w 5137844"/>
              <a:gd name="connsiteY142" fmla="*/ 0 h 2523948"/>
              <a:gd name="connsiteX143" fmla="*/ 3015216 w 5137844"/>
              <a:gd name="connsiteY143" fmla="*/ 0 h 2523948"/>
              <a:gd name="connsiteX144" fmla="*/ 3074750 w 5137844"/>
              <a:gd name="connsiteY144" fmla="*/ 0 h 2523948"/>
              <a:gd name="connsiteX145" fmla="*/ 3099031 w 5137844"/>
              <a:gd name="connsiteY145" fmla="*/ 0 h 2523948"/>
              <a:gd name="connsiteX146" fmla="*/ 3117790 w 5137844"/>
              <a:gd name="connsiteY146" fmla="*/ 0 h 2523948"/>
              <a:gd name="connsiteX147" fmla="*/ 3135912 w 5137844"/>
              <a:gd name="connsiteY147" fmla="*/ 0 h 2523948"/>
              <a:gd name="connsiteX148" fmla="*/ 3142071 w 5137844"/>
              <a:gd name="connsiteY148" fmla="*/ 0 h 2523948"/>
              <a:gd name="connsiteX149" fmla="*/ 3143379 w 5137844"/>
              <a:gd name="connsiteY149" fmla="*/ 0 h 2523948"/>
              <a:gd name="connsiteX150" fmla="*/ 3157927 w 5137844"/>
              <a:gd name="connsiteY150" fmla="*/ 0 h 2523948"/>
              <a:gd name="connsiteX151" fmla="*/ 3160193 w 5137844"/>
              <a:gd name="connsiteY151" fmla="*/ 0 h 2523948"/>
              <a:gd name="connsiteX152" fmla="*/ 3347536 w 5137844"/>
              <a:gd name="connsiteY152" fmla="*/ 0 h 2523948"/>
              <a:gd name="connsiteX153" fmla="*/ 4303193 w 5137844"/>
              <a:gd name="connsiteY153" fmla="*/ 0 h 2523948"/>
              <a:gd name="connsiteX154" fmla="*/ 4526872 w 5137844"/>
              <a:gd name="connsiteY154" fmla="*/ 128477 h 2523948"/>
              <a:gd name="connsiteX155" fmla="*/ 5106779 w 5137844"/>
              <a:gd name="connsiteY155" fmla="*/ 1133497 h 2523948"/>
              <a:gd name="connsiteX156" fmla="*/ 5106779 w 5137844"/>
              <a:gd name="connsiteY156" fmla="*/ 1390451 h 2523948"/>
              <a:gd name="connsiteX157" fmla="*/ 4526872 w 5137844"/>
              <a:gd name="connsiteY157" fmla="*/ 2395471 h 2523948"/>
              <a:gd name="connsiteX158" fmla="*/ 4303193 w 5137844"/>
              <a:gd name="connsiteY158" fmla="*/ 2523948 h 2523948"/>
              <a:gd name="connsiteX159" fmla="*/ 3160193 w 5137844"/>
              <a:gd name="connsiteY159" fmla="*/ 2523948 h 2523948"/>
              <a:gd name="connsiteX160" fmla="*/ 3143379 w 5137844"/>
              <a:gd name="connsiteY160" fmla="*/ 2523948 h 2523948"/>
              <a:gd name="connsiteX161" fmla="*/ 3135912 w 5137844"/>
              <a:gd name="connsiteY161" fmla="*/ 2523948 h 2523948"/>
              <a:gd name="connsiteX162" fmla="*/ 2000379 w 5137844"/>
              <a:gd name="connsiteY162" fmla="*/ 2523948 h 2523948"/>
              <a:gd name="connsiteX163" fmla="*/ 1992912 w 5137844"/>
              <a:gd name="connsiteY163" fmla="*/ 2523948 h 2523948"/>
              <a:gd name="connsiteX164" fmla="*/ 1976098 w 5137844"/>
              <a:gd name="connsiteY164" fmla="*/ 2523948 h 2523948"/>
              <a:gd name="connsiteX165" fmla="*/ 833098 w 5137844"/>
              <a:gd name="connsiteY165" fmla="*/ 2523948 h 2523948"/>
              <a:gd name="connsiteX166" fmla="*/ 609420 w 5137844"/>
              <a:gd name="connsiteY166" fmla="*/ 2395471 h 2523948"/>
              <a:gd name="connsiteX167" fmla="*/ 29513 w 5137844"/>
              <a:gd name="connsiteY167" fmla="*/ 1390451 h 2523948"/>
              <a:gd name="connsiteX168" fmla="*/ 0 w 5137844"/>
              <a:gd name="connsiteY168" fmla="*/ 1261974 h 2523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5137844" h="2523948">
                <a:moveTo>
                  <a:pt x="135606" y="1261974"/>
                </a:moveTo>
                <a:cubicBezTo>
                  <a:pt x="135606" y="1304409"/>
                  <a:pt x="144559" y="1346843"/>
                  <a:pt x="162467" y="1378906"/>
                </a:cubicBezTo>
                <a:cubicBezTo>
                  <a:pt x="162467" y="1378906"/>
                  <a:pt x="162467" y="1378906"/>
                  <a:pt x="690261" y="2293610"/>
                </a:cubicBezTo>
                <a:cubicBezTo>
                  <a:pt x="727960" y="2357733"/>
                  <a:pt x="820324" y="2410541"/>
                  <a:pt x="893838" y="2410541"/>
                </a:cubicBezTo>
                <a:lnTo>
                  <a:pt x="1084338" y="2410541"/>
                </a:lnTo>
                <a:lnTo>
                  <a:pt x="1934122" y="2410541"/>
                </a:lnTo>
                <a:lnTo>
                  <a:pt x="1949425" y="2410541"/>
                </a:lnTo>
                <a:lnTo>
                  <a:pt x="1956221" y="2410541"/>
                </a:lnTo>
                <a:lnTo>
                  <a:pt x="2124622" y="2410541"/>
                </a:lnTo>
                <a:lnTo>
                  <a:pt x="2139925" y="2410541"/>
                </a:lnTo>
                <a:lnTo>
                  <a:pt x="2146721" y="2410541"/>
                </a:lnTo>
                <a:lnTo>
                  <a:pt x="2989710" y="2410541"/>
                </a:lnTo>
                <a:lnTo>
                  <a:pt x="2996506" y="2410541"/>
                </a:lnTo>
                <a:lnTo>
                  <a:pt x="3011809" y="2410541"/>
                </a:lnTo>
                <a:lnTo>
                  <a:pt x="3180210" y="2410541"/>
                </a:lnTo>
                <a:lnTo>
                  <a:pt x="3187006" y="2410541"/>
                </a:lnTo>
                <a:lnTo>
                  <a:pt x="3202309" y="2410541"/>
                </a:lnTo>
                <a:lnTo>
                  <a:pt x="4052093" y="2410541"/>
                </a:lnTo>
                <a:lnTo>
                  <a:pt x="4242593" y="2410541"/>
                </a:lnTo>
                <a:cubicBezTo>
                  <a:pt x="4317992" y="2410541"/>
                  <a:pt x="4408471" y="2357733"/>
                  <a:pt x="4446171" y="2293610"/>
                </a:cubicBezTo>
                <a:cubicBezTo>
                  <a:pt x="4446171" y="2293610"/>
                  <a:pt x="4446171" y="2293610"/>
                  <a:pt x="4973965" y="1378906"/>
                </a:cubicBezTo>
                <a:cubicBezTo>
                  <a:pt x="5011664" y="1314782"/>
                  <a:pt x="5011664" y="1209166"/>
                  <a:pt x="4973965" y="1145043"/>
                </a:cubicBezTo>
                <a:cubicBezTo>
                  <a:pt x="4973965" y="1145043"/>
                  <a:pt x="4973965" y="1145043"/>
                  <a:pt x="4446171" y="230339"/>
                </a:cubicBezTo>
                <a:cubicBezTo>
                  <a:pt x="4408471" y="166215"/>
                  <a:pt x="4317992" y="113407"/>
                  <a:pt x="4242593" y="113407"/>
                </a:cubicBezTo>
                <a:cubicBezTo>
                  <a:pt x="4242593" y="113407"/>
                  <a:pt x="4242593" y="113407"/>
                  <a:pt x="4133871" y="113407"/>
                </a:cubicBezTo>
                <a:lnTo>
                  <a:pt x="4052093" y="113407"/>
                </a:lnTo>
                <a:lnTo>
                  <a:pt x="4050394" y="113407"/>
                </a:lnTo>
                <a:lnTo>
                  <a:pt x="4038503" y="113407"/>
                </a:lnTo>
                <a:lnTo>
                  <a:pt x="4030245" y="113407"/>
                </a:lnTo>
                <a:lnTo>
                  <a:pt x="4006226" y="113407"/>
                </a:lnTo>
                <a:lnTo>
                  <a:pt x="3943371" y="113407"/>
                </a:lnTo>
                <a:lnTo>
                  <a:pt x="3875656" y="113407"/>
                </a:lnTo>
                <a:lnTo>
                  <a:pt x="3839745" y="113407"/>
                </a:lnTo>
                <a:lnTo>
                  <a:pt x="3776065" y="113407"/>
                </a:lnTo>
                <a:lnTo>
                  <a:pt x="3685156" y="113407"/>
                </a:lnTo>
                <a:lnTo>
                  <a:pt x="3659911" y="113407"/>
                </a:lnTo>
                <a:lnTo>
                  <a:pt x="3585565" y="113407"/>
                </a:lnTo>
                <a:lnTo>
                  <a:pt x="3525919" y="113407"/>
                </a:lnTo>
                <a:lnTo>
                  <a:pt x="3469411" y="113407"/>
                </a:lnTo>
                <a:lnTo>
                  <a:pt x="3372816" y="113407"/>
                </a:lnTo>
                <a:lnTo>
                  <a:pt x="3335419" y="113407"/>
                </a:lnTo>
                <a:lnTo>
                  <a:pt x="3202309" y="113407"/>
                </a:lnTo>
                <a:lnTo>
                  <a:pt x="3200246" y="113407"/>
                </a:lnTo>
                <a:lnTo>
                  <a:pt x="3187006" y="113407"/>
                </a:lnTo>
                <a:lnTo>
                  <a:pt x="3185815" y="113407"/>
                </a:lnTo>
                <a:lnTo>
                  <a:pt x="3182316" y="113407"/>
                </a:lnTo>
                <a:lnTo>
                  <a:pt x="3180210" y="113407"/>
                </a:lnTo>
                <a:cubicBezTo>
                  <a:pt x="3180210" y="113407"/>
                  <a:pt x="3180210" y="113407"/>
                  <a:pt x="3163716" y="113407"/>
                </a:cubicBezTo>
                <a:lnTo>
                  <a:pt x="3146643" y="113407"/>
                </a:lnTo>
                <a:lnTo>
                  <a:pt x="3124544" y="113407"/>
                </a:lnTo>
                <a:lnTo>
                  <a:pt x="3070360" y="113407"/>
                </a:lnTo>
                <a:lnTo>
                  <a:pt x="3048262" y="113407"/>
                </a:lnTo>
                <a:lnTo>
                  <a:pt x="3014437" y="113407"/>
                </a:lnTo>
                <a:lnTo>
                  <a:pt x="3011809" y="113407"/>
                </a:lnTo>
                <a:lnTo>
                  <a:pt x="3009746" y="113407"/>
                </a:lnTo>
                <a:lnTo>
                  <a:pt x="2996506" y="113407"/>
                </a:lnTo>
                <a:lnTo>
                  <a:pt x="2995315" y="113407"/>
                </a:lnTo>
                <a:lnTo>
                  <a:pt x="2992338" y="113407"/>
                </a:lnTo>
                <a:lnTo>
                  <a:pt x="2989710" y="113407"/>
                </a:lnTo>
                <a:lnTo>
                  <a:pt x="2987648" y="113407"/>
                </a:lnTo>
                <a:lnTo>
                  <a:pt x="2973216" y="113407"/>
                </a:lnTo>
                <a:lnTo>
                  <a:pt x="2956143" y="113407"/>
                </a:lnTo>
                <a:lnTo>
                  <a:pt x="2944597" y="113407"/>
                </a:lnTo>
                <a:lnTo>
                  <a:pt x="2934044" y="113407"/>
                </a:lnTo>
                <a:lnTo>
                  <a:pt x="2922498" y="113407"/>
                </a:lnTo>
                <a:lnTo>
                  <a:pt x="2879860" y="113407"/>
                </a:lnTo>
                <a:lnTo>
                  <a:pt x="2859294" y="113407"/>
                </a:lnTo>
                <a:lnTo>
                  <a:pt x="2857762" y="113407"/>
                </a:lnTo>
                <a:lnTo>
                  <a:pt x="2837195" y="113407"/>
                </a:lnTo>
                <a:lnTo>
                  <a:pt x="2823937" y="113407"/>
                </a:lnTo>
                <a:lnTo>
                  <a:pt x="2801838" y="113407"/>
                </a:lnTo>
                <a:lnTo>
                  <a:pt x="2756982" y="113407"/>
                </a:lnTo>
                <a:lnTo>
                  <a:pt x="2754097" y="113407"/>
                </a:lnTo>
                <a:lnTo>
                  <a:pt x="2734884" y="113407"/>
                </a:lnTo>
                <a:lnTo>
                  <a:pt x="2731998" y="113407"/>
                </a:lnTo>
                <a:lnTo>
                  <a:pt x="2668794" y="113407"/>
                </a:lnTo>
                <a:lnTo>
                  <a:pt x="2646695" y="113407"/>
                </a:lnTo>
                <a:lnTo>
                  <a:pt x="2636115" y="113407"/>
                </a:lnTo>
                <a:lnTo>
                  <a:pt x="2614017" y="113407"/>
                </a:lnTo>
                <a:lnTo>
                  <a:pt x="2566482" y="113407"/>
                </a:lnTo>
                <a:lnTo>
                  <a:pt x="2544384" y="113407"/>
                </a:lnTo>
                <a:lnTo>
                  <a:pt x="2495147" y="113407"/>
                </a:lnTo>
                <a:lnTo>
                  <a:pt x="2473049" y="113407"/>
                </a:lnTo>
                <a:lnTo>
                  <a:pt x="2445615" y="113407"/>
                </a:lnTo>
                <a:lnTo>
                  <a:pt x="2423517" y="113407"/>
                </a:lnTo>
                <a:lnTo>
                  <a:pt x="2332532" y="113407"/>
                </a:lnTo>
                <a:lnTo>
                  <a:pt x="2310433" y="113407"/>
                </a:lnTo>
                <a:lnTo>
                  <a:pt x="2304647" y="113407"/>
                </a:lnTo>
                <a:lnTo>
                  <a:pt x="2282549" y="113407"/>
                </a:lnTo>
                <a:lnTo>
                  <a:pt x="2146721" y="113407"/>
                </a:lnTo>
                <a:lnTo>
                  <a:pt x="2142032" y="113407"/>
                </a:lnTo>
                <a:lnTo>
                  <a:pt x="2139925" y="113407"/>
                </a:lnTo>
                <a:lnTo>
                  <a:pt x="2137864" y="113407"/>
                </a:lnTo>
                <a:lnTo>
                  <a:pt x="2124622" y="113407"/>
                </a:lnTo>
                <a:lnTo>
                  <a:pt x="2123432" y="113407"/>
                </a:lnTo>
                <a:lnTo>
                  <a:pt x="2119933" y="113407"/>
                </a:lnTo>
                <a:lnTo>
                  <a:pt x="2097049" y="113407"/>
                </a:lnTo>
                <a:cubicBezTo>
                  <a:pt x="2073661" y="113407"/>
                  <a:pt x="2037517" y="113407"/>
                  <a:pt x="1981658" y="113407"/>
                </a:cubicBezTo>
                <a:lnTo>
                  <a:pt x="1956221" y="113407"/>
                </a:lnTo>
                <a:lnTo>
                  <a:pt x="1949425" y="113407"/>
                </a:lnTo>
                <a:lnTo>
                  <a:pt x="1947364" y="113407"/>
                </a:lnTo>
                <a:lnTo>
                  <a:pt x="1934122" y="113407"/>
                </a:lnTo>
                <a:lnTo>
                  <a:pt x="1932932" y="113407"/>
                </a:lnTo>
                <a:lnTo>
                  <a:pt x="1906549" y="113407"/>
                </a:lnTo>
                <a:lnTo>
                  <a:pt x="1882214" y="113407"/>
                </a:lnTo>
                <a:lnTo>
                  <a:pt x="1861030" y="113407"/>
                </a:lnTo>
                <a:lnTo>
                  <a:pt x="1791158" y="113407"/>
                </a:lnTo>
                <a:lnTo>
                  <a:pt x="1747978" y="113407"/>
                </a:lnTo>
                <a:lnTo>
                  <a:pt x="1691714" y="113407"/>
                </a:lnTo>
                <a:lnTo>
                  <a:pt x="1573733" y="113407"/>
                </a:lnTo>
                <a:lnTo>
                  <a:pt x="1557478" y="113407"/>
                </a:lnTo>
                <a:lnTo>
                  <a:pt x="1383233" y="113407"/>
                </a:lnTo>
                <a:lnTo>
                  <a:pt x="1354259" y="113407"/>
                </a:lnTo>
                <a:lnTo>
                  <a:pt x="1163759" y="113407"/>
                </a:lnTo>
                <a:lnTo>
                  <a:pt x="1084338" y="113407"/>
                </a:lnTo>
                <a:lnTo>
                  <a:pt x="893838" y="113407"/>
                </a:lnTo>
                <a:cubicBezTo>
                  <a:pt x="820324" y="113407"/>
                  <a:pt x="727960" y="166215"/>
                  <a:pt x="690261" y="230339"/>
                </a:cubicBezTo>
                <a:cubicBezTo>
                  <a:pt x="690261" y="230339"/>
                  <a:pt x="690261" y="230339"/>
                  <a:pt x="162467" y="1145043"/>
                </a:cubicBezTo>
                <a:cubicBezTo>
                  <a:pt x="144559" y="1177105"/>
                  <a:pt x="135606" y="1219539"/>
                  <a:pt x="135606" y="1261974"/>
                </a:cubicBezTo>
                <a:close/>
                <a:moveTo>
                  <a:pt x="0" y="1261974"/>
                </a:moveTo>
                <a:cubicBezTo>
                  <a:pt x="0" y="1215349"/>
                  <a:pt x="9837" y="1168725"/>
                  <a:pt x="29513" y="1133497"/>
                </a:cubicBezTo>
                <a:cubicBezTo>
                  <a:pt x="609420" y="128477"/>
                  <a:pt x="609420" y="128477"/>
                  <a:pt x="609420" y="128477"/>
                </a:cubicBezTo>
                <a:cubicBezTo>
                  <a:pt x="650842" y="58022"/>
                  <a:pt x="752325" y="0"/>
                  <a:pt x="833098" y="0"/>
                </a:cubicBezTo>
                <a:cubicBezTo>
                  <a:pt x="1702959" y="0"/>
                  <a:pt x="1920424" y="0"/>
                  <a:pt x="1974790" y="0"/>
                </a:cubicBezTo>
                <a:lnTo>
                  <a:pt x="1976098" y="0"/>
                </a:lnTo>
                <a:lnTo>
                  <a:pt x="1990647" y="0"/>
                </a:lnTo>
                <a:lnTo>
                  <a:pt x="1992912" y="0"/>
                </a:lnTo>
                <a:lnTo>
                  <a:pt x="2000379" y="0"/>
                </a:lnTo>
                <a:lnTo>
                  <a:pt x="2180255" y="0"/>
                </a:lnTo>
                <a:lnTo>
                  <a:pt x="2204536" y="0"/>
                </a:lnTo>
                <a:lnTo>
                  <a:pt x="2358928" y="0"/>
                </a:lnTo>
                <a:lnTo>
                  <a:pt x="2383208" y="0"/>
                </a:lnTo>
                <a:lnTo>
                  <a:pt x="2513815" y="0"/>
                </a:lnTo>
                <a:lnTo>
                  <a:pt x="2538095" y="0"/>
                </a:lnTo>
                <a:lnTo>
                  <a:pt x="2646616" y="0"/>
                </a:lnTo>
                <a:lnTo>
                  <a:pt x="2670896" y="0"/>
                </a:lnTo>
                <a:lnTo>
                  <a:pt x="2759029" y="0"/>
                </a:lnTo>
                <a:lnTo>
                  <a:pt x="2783310" y="0"/>
                </a:lnTo>
                <a:lnTo>
                  <a:pt x="2852754" y="0"/>
                </a:lnTo>
                <a:lnTo>
                  <a:pt x="2877035" y="0"/>
                </a:lnTo>
                <a:lnTo>
                  <a:pt x="2929490" y="0"/>
                </a:lnTo>
                <a:lnTo>
                  <a:pt x="2953771" y="0"/>
                </a:lnTo>
                <a:lnTo>
                  <a:pt x="2990936" y="0"/>
                </a:lnTo>
                <a:lnTo>
                  <a:pt x="3015216" y="0"/>
                </a:lnTo>
                <a:lnTo>
                  <a:pt x="3074750" y="0"/>
                </a:lnTo>
                <a:lnTo>
                  <a:pt x="3099031" y="0"/>
                </a:lnTo>
                <a:lnTo>
                  <a:pt x="3117790" y="0"/>
                </a:lnTo>
                <a:cubicBezTo>
                  <a:pt x="3135912" y="0"/>
                  <a:pt x="3135912" y="0"/>
                  <a:pt x="3135912" y="0"/>
                </a:cubicBezTo>
                <a:lnTo>
                  <a:pt x="3142071" y="0"/>
                </a:lnTo>
                <a:lnTo>
                  <a:pt x="3143379" y="0"/>
                </a:lnTo>
                <a:lnTo>
                  <a:pt x="3157927" y="0"/>
                </a:lnTo>
                <a:lnTo>
                  <a:pt x="3160193" y="0"/>
                </a:lnTo>
                <a:lnTo>
                  <a:pt x="3347536" y="0"/>
                </a:lnTo>
                <a:cubicBezTo>
                  <a:pt x="4303193" y="0"/>
                  <a:pt x="4303193" y="0"/>
                  <a:pt x="4303193" y="0"/>
                </a:cubicBezTo>
                <a:cubicBezTo>
                  <a:pt x="4386037" y="0"/>
                  <a:pt x="4485449" y="58022"/>
                  <a:pt x="4526872" y="128477"/>
                </a:cubicBezTo>
                <a:cubicBezTo>
                  <a:pt x="5106779" y="1133497"/>
                  <a:pt x="5106779" y="1133497"/>
                  <a:pt x="5106779" y="1133497"/>
                </a:cubicBezTo>
                <a:cubicBezTo>
                  <a:pt x="5148200" y="1203952"/>
                  <a:pt x="5148200" y="1319996"/>
                  <a:pt x="5106779" y="1390451"/>
                </a:cubicBezTo>
                <a:cubicBezTo>
                  <a:pt x="4526872" y="2395471"/>
                  <a:pt x="4526872" y="2395471"/>
                  <a:pt x="4526872" y="2395471"/>
                </a:cubicBezTo>
                <a:cubicBezTo>
                  <a:pt x="4485449" y="2465926"/>
                  <a:pt x="4386037" y="2523948"/>
                  <a:pt x="4303193" y="2523948"/>
                </a:cubicBezTo>
                <a:lnTo>
                  <a:pt x="3160193" y="2523948"/>
                </a:lnTo>
                <a:lnTo>
                  <a:pt x="3143379" y="2523948"/>
                </a:lnTo>
                <a:lnTo>
                  <a:pt x="3135912" y="2523948"/>
                </a:lnTo>
                <a:lnTo>
                  <a:pt x="2000379" y="2523948"/>
                </a:lnTo>
                <a:lnTo>
                  <a:pt x="1992912" y="2523948"/>
                </a:lnTo>
                <a:lnTo>
                  <a:pt x="1976098" y="2523948"/>
                </a:lnTo>
                <a:lnTo>
                  <a:pt x="833098" y="2523948"/>
                </a:lnTo>
                <a:cubicBezTo>
                  <a:pt x="752325" y="2523948"/>
                  <a:pt x="650842" y="2465926"/>
                  <a:pt x="609420" y="2395471"/>
                </a:cubicBezTo>
                <a:cubicBezTo>
                  <a:pt x="29513" y="1390451"/>
                  <a:pt x="29513" y="1390451"/>
                  <a:pt x="29513" y="1390451"/>
                </a:cubicBezTo>
                <a:cubicBezTo>
                  <a:pt x="9837" y="1355223"/>
                  <a:pt x="0" y="1308599"/>
                  <a:pt x="0" y="1261974"/>
                </a:cubicBezTo>
                <a:close/>
              </a:path>
            </a:pathLst>
          </a:custGeom>
          <a:solidFill>
            <a:srgbClr val="02919F"/>
          </a:solidFill>
          <a:ln w="25400">
            <a:solidFill>
              <a:srgbClr val="02919F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 sz="2000">
              <a:solidFill>
                <a:prstClr val="black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5" name="任意多边形 70"/>
          <p:cNvSpPr>
            <a:spLocks/>
          </p:cNvSpPr>
          <p:nvPr/>
        </p:nvSpPr>
        <p:spPr bwMode="auto">
          <a:xfrm rot="5400000">
            <a:off x="2039231" y="4109898"/>
            <a:ext cx="2273437" cy="1760195"/>
          </a:xfrm>
          <a:custGeom>
            <a:avLst/>
            <a:gdLst>
              <a:gd name="connsiteX0" fmla="*/ 135606 w 5137844"/>
              <a:gd name="connsiteY0" fmla="*/ 1261974 h 2523948"/>
              <a:gd name="connsiteX1" fmla="*/ 162467 w 5137844"/>
              <a:gd name="connsiteY1" fmla="*/ 1378906 h 2523948"/>
              <a:gd name="connsiteX2" fmla="*/ 690261 w 5137844"/>
              <a:gd name="connsiteY2" fmla="*/ 2293610 h 2523948"/>
              <a:gd name="connsiteX3" fmla="*/ 893838 w 5137844"/>
              <a:gd name="connsiteY3" fmla="*/ 2410541 h 2523948"/>
              <a:gd name="connsiteX4" fmla="*/ 1084338 w 5137844"/>
              <a:gd name="connsiteY4" fmla="*/ 2410541 h 2523948"/>
              <a:gd name="connsiteX5" fmla="*/ 1934122 w 5137844"/>
              <a:gd name="connsiteY5" fmla="*/ 2410541 h 2523948"/>
              <a:gd name="connsiteX6" fmla="*/ 1949425 w 5137844"/>
              <a:gd name="connsiteY6" fmla="*/ 2410541 h 2523948"/>
              <a:gd name="connsiteX7" fmla="*/ 1956221 w 5137844"/>
              <a:gd name="connsiteY7" fmla="*/ 2410541 h 2523948"/>
              <a:gd name="connsiteX8" fmla="*/ 2124622 w 5137844"/>
              <a:gd name="connsiteY8" fmla="*/ 2410541 h 2523948"/>
              <a:gd name="connsiteX9" fmla="*/ 2139925 w 5137844"/>
              <a:gd name="connsiteY9" fmla="*/ 2410541 h 2523948"/>
              <a:gd name="connsiteX10" fmla="*/ 2146721 w 5137844"/>
              <a:gd name="connsiteY10" fmla="*/ 2410541 h 2523948"/>
              <a:gd name="connsiteX11" fmla="*/ 2989710 w 5137844"/>
              <a:gd name="connsiteY11" fmla="*/ 2410541 h 2523948"/>
              <a:gd name="connsiteX12" fmla="*/ 2996506 w 5137844"/>
              <a:gd name="connsiteY12" fmla="*/ 2410541 h 2523948"/>
              <a:gd name="connsiteX13" fmla="*/ 3011809 w 5137844"/>
              <a:gd name="connsiteY13" fmla="*/ 2410541 h 2523948"/>
              <a:gd name="connsiteX14" fmla="*/ 3180210 w 5137844"/>
              <a:gd name="connsiteY14" fmla="*/ 2410541 h 2523948"/>
              <a:gd name="connsiteX15" fmla="*/ 3187006 w 5137844"/>
              <a:gd name="connsiteY15" fmla="*/ 2410541 h 2523948"/>
              <a:gd name="connsiteX16" fmla="*/ 3202309 w 5137844"/>
              <a:gd name="connsiteY16" fmla="*/ 2410541 h 2523948"/>
              <a:gd name="connsiteX17" fmla="*/ 4052093 w 5137844"/>
              <a:gd name="connsiteY17" fmla="*/ 2410541 h 2523948"/>
              <a:gd name="connsiteX18" fmla="*/ 4242593 w 5137844"/>
              <a:gd name="connsiteY18" fmla="*/ 2410541 h 2523948"/>
              <a:gd name="connsiteX19" fmla="*/ 4446171 w 5137844"/>
              <a:gd name="connsiteY19" fmla="*/ 2293610 h 2523948"/>
              <a:gd name="connsiteX20" fmla="*/ 4973965 w 5137844"/>
              <a:gd name="connsiteY20" fmla="*/ 1378906 h 2523948"/>
              <a:gd name="connsiteX21" fmla="*/ 4973965 w 5137844"/>
              <a:gd name="connsiteY21" fmla="*/ 1145043 h 2523948"/>
              <a:gd name="connsiteX22" fmla="*/ 4446171 w 5137844"/>
              <a:gd name="connsiteY22" fmla="*/ 230339 h 2523948"/>
              <a:gd name="connsiteX23" fmla="*/ 4242593 w 5137844"/>
              <a:gd name="connsiteY23" fmla="*/ 113407 h 2523948"/>
              <a:gd name="connsiteX24" fmla="*/ 4133871 w 5137844"/>
              <a:gd name="connsiteY24" fmla="*/ 113407 h 2523948"/>
              <a:gd name="connsiteX25" fmla="*/ 4052093 w 5137844"/>
              <a:gd name="connsiteY25" fmla="*/ 113407 h 2523948"/>
              <a:gd name="connsiteX26" fmla="*/ 4050394 w 5137844"/>
              <a:gd name="connsiteY26" fmla="*/ 113407 h 2523948"/>
              <a:gd name="connsiteX27" fmla="*/ 4038503 w 5137844"/>
              <a:gd name="connsiteY27" fmla="*/ 113407 h 2523948"/>
              <a:gd name="connsiteX28" fmla="*/ 4030245 w 5137844"/>
              <a:gd name="connsiteY28" fmla="*/ 113407 h 2523948"/>
              <a:gd name="connsiteX29" fmla="*/ 4006226 w 5137844"/>
              <a:gd name="connsiteY29" fmla="*/ 113407 h 2523948"/>
              <a:gd name="connsiteX30" fmla="*/ 3943371 w 5137844"/>
              <a:gd name="connsiteY30" fmla="*/ 113407 h 2523948"/>
              <a:gd name="connsiteX31" fmla="*/ 3875656 w 5137844"/>
              <a:gd name="connsiteY31" fmla="*/ 113407 h 2523948"/>
              <a:gd name="connsiteX32" fmla="*/ 3839745 w 5137844"/>
              <a:gd name="connsiteY32" fmla="*/ 113407 h 2523948"/>
              <a:gd name="connsiteX33" fmla="*/ 3776065 w 5137844"/>
              <a:gd name="connsiteY33" fmla="*/ 113407 h 2523948"/>
              <a:gd name="connsiteX34" fmla="*/ 3685156 w 5137844"/>
              <a:gd name="connsiteY34" fmla="*/ 113407 h 2523948"/>
              <a:gd name="connsiteX35" fmla="*/ 3659911 w 5137844"/>
              <a:gd name="connsiteY35" fmla="*/ 113407 h 2523948"/>
              <a:gd name="connsiteX36" fmla="*/ 3585565 w 5137844"/>
              <a:gd name="connsiteY36" fmla="*/ 113407 h 2523948"/>
              <a:gd name="connsiteX37" fmla="*/ 3525919 w 5137844"/>
              <a:gd name="connsiteY37" fmla="*/ 113407 h 2523948"/>
              <a:gd name="connsiteX38" fmla="*/ 3469411 w 5137844"/>
              <a:gd name="connsiteY38" fmla="*/ 113407 h 2523948"/>
              <a:gd name="connsiteX39" fmla="*/ 3372816 w 5137844"/>
              <a:gd name="connsiteY39" fmla="*/ 113407 h 2523948"/>
              <a:gd name="connsiteX40" fmla="*/ 3335419 w 5137844"/>
              <a:gd name="connsiteY40" fmla="*/ 113407 h 2523948"/>
              <a:gd name="connsiteX41" fmla="*/ 3202309 w 5137844"/>
              <a:gd name="connsiteY41" fmla="*/ 113407 h 2523948"/>
              <a:gd name="connsiteX42" fmla="*/ 3200246 w 5137844"/>
              <a:gd name="connsiteY42" fmla="*/ 113407 h 2523948"/>
              <a:gd name="connsiteX43" fmla="*/ 3187006 w 5137844"/>
              <a:gd name="connsiteY43" fmla="*/ 113407 h 2523948"/>
              <a:gd name="connsiteX44" fmla="*/ 3185815 w 5137844"/>
              <a:gd name="connsiteY44" fmla="*/ 113407 h 2523948"/>
              <a:gd name="connsiteX45" fmla="*/ 3182316 w 5137844"/>
              <a:gd name="connsiteY45" fmla="*/ 113407 h 2523948"/>
              <a:gd name="connsiteX46" fmla="*/ 3180210 w 5137844"/>
              <a:gd name="connsiteY46" fmla="*/ 113407 h 2523948"/>
              <a:gd name="connsiteX47" fmla="*/ 3163716 w 5137844"/>
              <a:gd name="connsiteY47" fmla="*/ 113407 h 2523948"/>
              <a:gd name="connsiteX48" fmla="*/ 3146643 w 5137844"/>
              <a:gd name="connsiteY48" fmla="*/ 113407 h 2523948"/>
              <a:gd name="connsiteX49" fmla="*/ 3124544 w 5137844"/>
              <a:gd name="connsiteY49" fmla="*/ 113407 h 2523948"/>
              <a:gd name="connsiteX50" fmla="*/ 3070360 w 5137844"/>
              <a:gd name="connsiteY50" fmla="*/ 113407 h 2523948"/>
              <a:gd name="connsiteX51" fmla="*/ 3048262 w 5137844"/>
              <a:gd name="connsiteY51" fmla="*/ 113407 h 2523948"/>
              <a:gd name="connsiteX52" fmla="*/ 3014437 w 5137844"/>
              <a:gd name="connsiteY52" fmla="*/ 113407 h 2523948"/>
              <a:gd name="connsiteX53" fmla="*/ 3011809 w 5137844"/>
              <a:gd name="connsiteY53" fmla="*/ 113407 h 2523948"/>
              <a:gd name="connsiteX54" fmla="*/ 3009746 w 5137844"/>
              <a:gd name="connsiteY54" fmla="*/ 113407 h 2523948"/>
              <a:gd name="connsiteX55" fmla="*/ 2996506 w 5137844"/>
              <a:gd name="connsiteY55" fmla="*/ 113407 h 2523948"/>
              <a:gd name="connsiteX56" fmla="*/ 2995315 w 5137844"/>
              <a:gd name="connsiteY56" fmla="*/ 113407 h 2523948"/>
              <a:gd name="connsiteX57" fmla="*/ 2992338 w 5137844"/>
              <a:gd name="connsiteY57" fmla="*/ 113407 h 2523948"/>
              <a:gd name="connsiteX58" fmla="*/ 2989710 w 5137844"/>
              <a:gd name="connsiteY58" fmla="*/ 113407 h 2523948"/>
              <a:gd name="connsiteX59" fmla="*/ 2987648 w 5137844"/>
              <a:gd name="connsiteY59" fmla="*/ 113407 h 2523948"/>
              <a:gd name="connsiteX60" fmla="*/ 2973216 w 5137844"/>
              <a:gd name="connsiteY60" fmla="*/ 113407 h 2523948"/>
              <a:gd name="connsiteX61" fmla="*/ 2956143 w 5137844"/>
              <a:gd name="connsiteY61" fmla="*/ 113407 h 2523948"/>
              <a:gd name="connsiteX62" fmla="*/ 2944597 w 5137844"/>
              <a:gd name="connsiteY62" fmla="*/ 113407 h 2523948"/>
              <a:gd name="connsiteX63" fmla="*/ 2934044 w 5137844"/>
              <a:gd name="connsiteY63" fmla="*/ 113407 h 2523948"/>
              <a:gd name="connsiteX64" fmla="*/ 2922498 w 5137844"/>
              <a:gd name="connsiteY64" fmla="*/ 113407 h 2523948"/>
              <a:gd name="connsiteX65" fmla="*/ 2879860 w 5137844"/>
              <a:gd name="connsiteY65" fmla="*/ 113407 h 2523948"/>
              <a:gd name="connsiteX66" fmla="*/ 2859294 w 5137844"/>
              <a:gd name="connsiteY66" fmla="*/ 113407 h 2523948"/>
              <a:gd name="connsiteX67" fmla="*/ 2857762 w 5137844"/>
              <a:gd name="connsiteY67" fmla="*/ 113407 h 2523948"/>
              <a:gd name="connsiteX68" fmla="*/ 2837195 w 5137844"/>
              <a:gd name="connsiteY68" fmla="*/ 113407 h 2523948"/>
              <a:gd name="connsiteX69" fmla="*/ 2823937 w 5137844"/>
              <a:gd name="connsiteY69" fmla="*/ 113407 h 2523948"/>
              <a:gd name="connsiteX70" fmla="*/ 2801838 w 5137844"/>
              <a:gd name="connsiteY70" fmla="*/ 113407 h 2523948"/>
              <a:gd name="connsiteX71" fmla="*/ 2756982 w 5137844"/>
              <a:gd name="connsiteY71" fmla="*/ 113407 h 2523948"/>
              <a:gd name="connsiteX72" fmla="*/ 2754097 w 5137844"/>
              <a:gd name="connsiteY72" fmla="*/ 113407 h 2523948"/>
              <a:gd name="connsiteX73" fmla="*/ 2734884 w 5137844"/>
              <a:gd name="connsiteY73" fmla="*/ 113407 h 2523948"/>
              <a:gd name="connsiteX74" fmla="*/ 2731998 w 5137844"/>
              <a:gd name="connsiteY74" fmla="*/ 113407 h 2523948"/>
              <a:gd name="connsiteX75" fmla="*/ 2668794 w 5137844"/>
              <a:gd name="connsiteY75" fmla="*/ 113407 h 2523948"/>
              <a:gd name="connsiteX76" fmla="*/ 2646695 w 5137844"/>
              <a:gd name="connsiteY76" fmla="*/ 113407 h 2523948"/>
              <a:gd name="connsiteX77" fmla="*/ 2636115 w 5137844"/>
              <a:gd name="connsiteY77" fmla="*/ 113407 h 2523948"/>
              <a:gd name="connsiteX78" fmla="*/ 2614017 w 5137844"/>
              <a:gd name="connsiteY78" fmla="*/ 113407 h 2523948"/>
              <a:gd name="connsiteX79" fmla="*/ 2566482 w 5137844"/>
              <a:gd name="connsiteY79" fmla="*/ 113407 h 2523948"/>
              <a:gd name="connsiteX80" fmla="*/ 2544384 w 5137844"/>
              <a:gd name="connsiteY80" fmla="*/ 113407 h 2523948"/>
              <a:gd name="connsiteX81" fmla="*/ 2495147 w 5137844"/>
              <a:gd name="connsiteY81" fmla="*/ 113407 h 2523948"/>
              <a:gd name="connsiteX82" fmla="*/ 2473049 w 5137844"/>
              <a:gd name="connsiteY82" fmla="*/ 113407 h 2523948"/>
              <a:gd name="connsiteX83" fmla="*/ 2445615 w 5137844"/>
              <a:gd name="connsiteY83" fmla="*/ 113407 h 2523948"/>
              <a:gd name="connsiteX84" fmla="*/ 2423517 w 5137844"/>
              <a:gd name="connsiteY84" fmla="*/ 113407 h 2523948"/>
              <a:gd name="connsiteX85" fmla="*/ 2332532 w 5137844"/>
              <a:gd name="connsiteY85" fmla="*/ 113407 h 2523948"/>
              <a:gd name="connsiteX86" fmla="*/ 2310433 w 5137844"/>
              <a:gd name="connsiteY86" fmla="*/ 113407 h 2523948"/>
              <a:gd name="connsiteX87" fmla="*/ 2304647 w 5137844"/>
              <a:gd name="connsiteY87" fmla="*/ 113407 h 2523948"/>
              <a:gd name="connsiteX88" fmla="*/ 2282549 w 5137844"/>
              <a:gd name="connsiteY88" fmla="*/ 113407 h 2523948"/>
              <a:gd name="connsiteX89" fmla="*/ 2146721 w 5137844"/>
              <a:gd name="connsiteY89" fmla="*/ 113407 h 2523948"/>
              <a:gd name="connsiteX90" fmla="*/ 2142032 w 5137844"/>
              <a:gd name="connsiteY90" fmla="*/ 113407 h 2523948"/>
              <a:gd name="connsiteX91" fmla="*/ 2139925 w 5137844"/>
              <a:gd name="connsiteY91" fmla="*/ 113407 h 2523948"/>
              <a:gd name="connsiteX92" fmla="*/ 2137864 w 5137844"/>
              <a:gd name="connsiteY92" fmla="*/ 113407 h 2523948"/>
              <a:gd name="connsiteX93" fmla="*/ 2124622 w 5137844"/>
              <a:gd name="connsiteY93" fmla="*/ 113407 h 2523948"/>
              <a:gd name="connsiteX94" fmla="*/ 2123432 w 5137844"/>
              <a:gd name="connsiteY94" fmla="*/ 113407 h 2523948"/>
              <a:gd name="connsiteX95" fmla="*/ 2119933 w 5137844"/>
              <a:gd name="connsiteY95" fmla="*/ 113407 h 2523948"/>
              <a:gd name="connsiteX96" fmla="*/ 2097049 w 5137844"/>
              <a:gd name="connsiteY96" fmla="*/ 113407 h 2523948"/>
              <a:gd name="connsiteX97" fmla="*/ 1981658 w 5137844"/>
              <a:gd name="connsiteY97" fmla="*/ 113407 h 2523948"/>
              <a:gd name="connsiteX98" fmla="*/ 1956221 w 5137844"/>
              <a:gd name="connsiteY98" fmla="*/ 113407 h 2523948"/>
              <a:gd name="connsiteX99" fmla="*/ 1949425 w 5137844"/>
              <a:gd name="connsiteY99" fmla="*/ 113407 h 2523948"/>
              <a:gd name="connsiteX100" fmla="*/ 1947364 w 5137844"/>
              <a:gd name="connsiteY100" fmla="*/ 113407 h 2523948"/>
              <a:gd name="connsiteX101" fmla="*/ 1934122 w 5137844"/>
              <a:gd name="connsiteY101" fmla="*/ 113407 h 2523948"/>
              <a:gd name="connsiteX102" fmla="*/ 1932932 w 5137844"/>
              <a:gd name="connsiteY102" fmla="*/ 113407 h 2523948"/>
              <a:gd name="connsiteX103" fmla="*/ 1906549 w 5137844"/>
              <a:gd name="connsiteY103" fmla="*/ 113407 h 2523948"/>
              <a:gd name="connsiteX104" fmla="*/ 1882214 w 5137844"/>
              <a:gd name="connsiteY104" fmla="*/ 113407 h 2523948"/>
              <a:gd name="connsiteX105" fmla="*/ 1861030 w 5137844"/>
              <a:gd name="connsiteY105" fmla="*/ 113407 h 2523948"/>
              <a:gd name="connsiteX106" fmla="*/ 1791158 w 5137844"/>
              <a:gd name="connsiteY106" fmla="*/ 113407 h 2523948"/>
              <a:gd name="connsiteX107" fmla="*/ 1747978 w 5137844"/>
              <a:gd name="connsiteY107" fmla="*/ 113407 h 2523948"/>
              <a:gd name="connsiteX108" fmla="*/ 1691714 w 5137844"/>
              <a:gd name="connsiteY108" fmla="*/ 113407 h 2523948"/>
              <a:gd name="connsiteX109" fmla="*/ 1573733 w 5137844"/>
              <a:gd name="connsiteY109" fmla="*/ 113407 h 2523948"/>
              <a:gd name="connsiteX110" fmla="*/ 1557478 w 5137844"/>
              <a:gd name="connsiteY110" fmla="*/ 113407 h 2523948"/>
              <a:gd name="connsiteX111" fmla="*/ 1383233 w 5137844"/>
              <a:gd name="connsiteY111" fmla="*/ 113407 h 2523948"/>
              <a:gd name="connsiteX112" fmla="*/ 1354259 w 5137844"/>
              <a:gd name="connsiteY112" fmla="*/ 113407 h 2523948"/>
              <a:gd name="connsiteX113" fmla="*/ 1163759 w 5137844"/>
              <a:gd name="connsiteY113" fmla="*/ 113407 h 2523948"/>
              <a:gd name="connsiteX114" fmla="*/ 1084338 w 5137844"/>
              <a:gd name="connsiteY114" fmla="*/ 113407 h 2523948"/>
              <a:gd name="connsiteX115" fmla="*/ 893838 w 5137844"/>
              <a:gd name="connsiteY115" fmla="*/ 113407 h 2523948"/>
              <a:gd name="connsiteX116" fmla="*/ 690261 w 5137844"/>
              <a:gd name="connsiteY116" fmla="*/ 230339 h 2523948"/>
              <a:gd name="connsiteX117" fmla="*/ 162467 w 5137844"/>
              <a:gd name="connsiteY117" fmla="*/ 1145043 h 2523948"/>
              <a:gd name="connsiteX118" fmla="*/ 135606 w 5137844"/>
              <a:gd name="connsiteY118" fmla="*/ 1261974 h 2523948"/>
              <a:gd name="connsiteX119" fmla="*/ 0 w 5137844"/>
              <a:gd name="connsiteY119" fmla="*/ 1261974 h 2523948"/>
              <a:gd name="connsiteX120" fmla="*/ 29513 w 5137844"/>
              <a:gd name="connsiteY120" fmla="*/ 1133497 h 2523948"/>
              <a:gd name="connsiteX121" fmla="*/ 609420 w 5137844"/>
              <a:gd name="connsiteY121" fmla="*/ 128477 h 2523948"/>
              <a:gd name="connsiteX122" fmla="*/ 833098 w 5137844"/>
              <a:gd name="connsiteY122" fmla="*/ 0 h 2523948"/>
              <a:gd name="connsiteX123" fmla="*/ 1974790 w 5137844"/>
              <a:gd name="connsiteY123" fmla="*/ 0 h 2523948"/>
              <a:gd name="connsiteX124" fmla="*/ 1976098 w 5137844"/>
              <a:gd name="connsiteY124" fmla="*/ 0 h 2523948"/>
              <a:gd name="connsiteX125" fmla="*/ 1990647 w 5137844"/>
              <a:gd name="connsiteY125" fmla="*/ 0 h 2523948"/>
              <a:gd name="connsiteX126" fmla="*/ 1992912 w 5137844"/>
              <a:gd name="connsiteY126" fmla="*/ 0 h 2523948"/>
              <a:gd name="connsiteX127" fmla="*/ 2000379 w 5137844"/>
              <a:gd name="connsiteY127" fmla="*/ 0 h 2523948"/>
              <a:gd name="connsiteX128" fmla="*/ 2180255 w 5137844"/>
              <a:gd name="connsiteY128" fmla="*/ 0 h 2523948"/>
              <a:gd name="connsiteX129" fmla="*/ 2204536 w 5137844"/>
              <a:gd name="connsiteY129" fmla="*/ 0 h 2523948"/>
              <a:gd name="connsiteX130" fmla="*/ 2358928 w 5137844"/>
              <a:gd name="connsiteY130" fmla="*/ 0 h 2523948"/>
              <a:gd name="connsiteX131" fmla="*/ 2383208 w 5137844"/>
              <a:gd name="connsiteY131" fmla="*/ 0 h 2523948"/>
              <a:gd name="connsiteX132" fmla="*/ 2513815 w 5137844"/>
              <a:gd name="connsiteY132" fmla="*/ 0 h 2523948"/>
              <a:gd name="connsiteX133" fmla="*/ 2538095 w 5137844"/>
              <a:gd name="connsiteY133" fmla="*/ 0 h 2523948"/>
              <a:gd name="connsiteX134" fmla="*/ 2646616 w 5137844"/>
              <a:gd name="connsiteY134" fmla="*/ 0 h 2523948"/>
              <a:gd name="connsiteX135" fmla="*/ 2670896 w 5137844"/>
              <a:gd name="connsiteY135" fmla="*/ 0 h 2523948"/>
              <a:gd name="connsiteX136" fmla="*/ 2759029 w 5137844"/>
              <a:gd name="connsiteY136" fmla="*/ 0 h 2523948"/>
              <a:gd name="connsiteX137" fmla="*/ 2783310 w 5137844"/>
              <a:gd name="connsiteY137" fmla="*/ 0 h 2523948"/>
              <a:gd name="connsiteX138" fmla="*/ 2852754 w 5137844"/>
              <a:gd name="connsiteY138" fmla="*/ 0 h 2523948"/>
              <a:gd name="connsiteX139" fmla="*/ 2877035 w 5137844"/>
              <a:gd name="connsiteY139" fmla="*/ 0 h 2523948"/>
              <a:gd name="connsiteX140" fmla="*/ 2929490 w 5137844"/>
              <a:gd name="connsiteY140" fmla="*/ 0 h 2523948"/>
              <a:gd name="connsiteX141" fmla="*/ 2953771 w 5137844"/>
              <a:gd name="connsiteY141" fmla="*/ 0 h 2523948"/>
              <a:gd name="connsiteX142" fmla="*/ 2990936 w 5137844"/>
              <a:gd name="connsiteY142" fmla="*/ 0 h 2523948"/>
              <a:gd name="connsiteX143" fmla="*/ 3015216 w 5137844"/>
              <a:gd name="connsiteY143" fmla="*/ 0 h 2523948"/>
              <a:gd name="connsiteX144" fmla="*/ 3074750 w 5137844"/>
              <a:gd name="connsiteY144" fmla="*/ 0 h 2523948"/>
              <a:gd name="connsiteX145" fmla="*/ 3099031 w 5137844"/>
              <a:gd name="connsiteY145" fmla="*/ 0 h 2523948"/>
              <a:gd name="connsiteX146" fmla="*/ 3117790 w 5137844"/>
              <a:gd name="connsiteY146" fmla="*/ 0 h 2523948"/>
              <a:gd name="connsiteX147" fmla="*/ 3135912 w 5137844"/>
              <a:gd name="connsiteY147" fmla="*/ 0 h 2523948"/>
              <a:gd name="connsiteX148" fmla="*/ 3142071 w 5137844"/>
              <a:gd name="connsiteY148" fmla="*/ 0 h 2523948"/>
              <a:gd name="connsiteX149" fmla="*/ 3143379 w 5137844"/>
              <a:gd name="connsiteY149" fmla="*/ 0 h 2523948"/>
              <a:gd name="connsiteX150" fmla="*/ 3157927 w 5137844"/>
              <a:gd name="connsiteY150" fmla="*/ 0 h 2523948"/>
              <a:gd name="connsiteX151" fmla="*/ 3160193 w 5137844"/>
              <a:gd name="connsiteY151" fmla="*/ 0 h 2523948"/>
              <a:gd name="connsiteX152" fmla="*/ 3347536 w 5137844"/>
              <a:gd name="connsiteY152" fmla="*/ 0 h 2523948"/>
              <a:gd name="connsiteX153" fmla="*/ 4303193 w 5137844"/>
              <a:gd name="connsiteY153" fmla="*/ 0 h 2523948"/>
              <a:gd name="connsiteX154" fmla="*/ 4526872 w 5137844"/>
              <a:gd name="connsiteY154" fmla="*/ 128477 h 2523948"/>
              <a:gd name="connsiteX155" fmla="*/ 5106779 w 5137844"/>
              <a:gd name="connsiteY155" fmla="*/ 1133497 h 2523948"/>
              <a:gd name="connsiteX156" fmla="*/ 5106779 w 5137844"/>
              <a:gd name="connsiteY156" fmla="*/ 1390451 h 2523948"/>
              <a:gd name="connsiteX157" fmla="*/ 4526872 w 5137844"/>
              <a:gd name="connsiteY157" fmla="*/ 2395471 h 2523948"/>
              <a:gd name="connsiteX158" fmla="*/ 4303193 w 5137844"/>
              <a:gd name="connsiteY158" fmla="*/ 2523948 h 2523948"/>
              <a:gd name="connsiteX159" fmla="*/ 3160193 w 5137844"/>
              <a:gd name="connsiteY159" fmla="*/ 2523948 h 2523948"/>
              <a:gd name="connsiteX160" fmla="*/ 3143379 w 5137844"/>
              <a:gd name="connsiteY160" fmla="*/ 2523948 h 2523948"/>
              <a:gd name="connsiteX161" fmla="*/ 3135912 w 5137844"/>
              <a:gd name="connsiteY161" fmla="*/ 2523948 h 2523948"/>
              <a:gd name="connsiteX162" fmla="*/ 2000379 w 5137844"/>
              <a:gd name="connsiteY162" fmla="*/ 2523948 h 2523948"/>
              <a:gd name="connsiteX163" fmla="*/ 1992912 w 5137844"/>
              <a:gd name="connsiteY163" fmla="*/ 2523948 h 2523948"/>
              <a:gd name="connsiteX164" fmla="*/ 1976098 w 5137844"/>
              <a:gd name="connsiteY164" fmla="*/ 2523948 h 2523948"/>
              <a:gd name="connsiteX165" fmla="*/ 833098 w 5137844"/>
              <a:gd name="connsiteY165" fmla="*/ 2523948 h 2523948"/>
              <a:gd name="connsiteX166" fmla="*/ 609420 w 5137844"/>
              <a:gd name="connsiteY166" fmla="*/ 2395471 h 2523948"/>
              <a:gd name="connsiteX167" fmla="*/ 29513 w 5137844"/>
              <a:gd name="connsiteY167" fmla="*/ 1390451 h 2523948"/>
              <a:gd name="connsiteX168" fmla="*/ 0 w 5137844"/>
              <a:gd name="connsiteY168" fmla="*/ 1261974 h 2523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5137844" h="2523948">
                <a:moveTo>
                  <a:pt x="135606" y="1261974"/>
                </a:moveTo>
                <a:cubicBezTo>
                  <a:pt x="135606" y="1304409"/>
                  <a:pt x="144559" y="1346843"/>
                  <a:pt x="162467" y="1378906"/>
                </a:cubicBezTo>
                <a:cubicBezTo>
                  <a:pt x="162467" y="1378906"/>
                  <a:pt x="162467" y="1378906"/>
                  <a:pt x="690261" y="2293610"/>
                </a:cubicBezTo>
                <a:cubicBezTo>
                  <a:pt x="727960" y="2357733"/>
                  <a:pt x="820324" y="2410541"/>
                  <a:pt x="893838" y="2410541"/>
                </a:cubicBezTo>
                <a:lnTo>
                  <a:pt x="1084338" y="2410541"/>
                </a:lnTo>
                <a:lnTo>
                  <a:pt x="1934122" y="2410541"/>
                </a:lnTo>
                <a:lnTo>
                  <a:pt x="1949425" y="2410541"/>
                </a:lnTo>
                <a:lnTo>
                  <a:pt x="1956221" y="2410541"/>
                </a:lnTo>
                <a:lnTo>
                  <a:pt x="2124622" y="2410541"/>
                </a:lnTo>
                <a:lnTo>
                  <a:pt x="2139925" y="2410541"/>
                </a:lnTo>
                <a:lnTo>
                  <a:pt x="2146721" y="2410541"/>
                </a:lnTo>
                <a:lnTo>
                  <a:pt x="2989710" y="2410541"/>
                </a:lnTo>
                <a:lnTo>
                  <a:pt x="2996506" y="2410541"/>
                </a:lnTo>
                <a:lnTo>
                  <a:pt x="3011809" y="2410541"/>
                </a:lnTo>
                <a:lnTo>
                  <a:pt x="3180210" y="2410541"/>
                </a:lnTo>
                <a:lnTo>
                  <a:pt x="3187006" y="2410541"/>
                </a:lnTo>
                <a:lnTo>
                  <a:pt x="3202309" y="2410541"/>
                </a:lnTo>
                <a:lnTo>
                  <a:pt x="4052093" y="2410541"/>
                </a:lnTo>
                <a:lnTo>
                  <a:pt x="4242593" y="2410541"/>
                </a:lnTo>
                <a:cubicBezTo>
                  <a:pt x="4317992" y="2410541"/>
                  <a:pt x="4408471" y="2357733"/>
                  <a:pt x="4446171" y="2293610"/>
                </a:cubicBezTo>
                <a:cubicBezTo>
                  <a:pt x="4446171" y="2293610"/>
                  <a:pt x="4446171" y="2293610"/>
                  <a:pt x="4973965" y="1378906"/>
                </a:cubicBezTo>
                <a:cubicBezTo>
                  <a:pt x="5011664" y="1314782"/>
                  <a:pt x="5011664" y="1209166"/>
                  <a:pt x="4973965" y="1145043"/>
                </a:cubicBezTo>
                <a:cubicBezTo>
                  <a:pt x="4973965" y="1145043"/>
                  <a:pt x="4973965" y="1145043"/>
                  <a:pt x="4446171" y="230339"/>
                </a:cubicBezTo>
                <a:cubicBezTo>
                  <a:pt x="4408471" y="166215"/>
                  <a:pt x="4317992" y="113407"/>
                  <a:pt x="4242593" y="113407"/>
                </a:cubicBezTo>
                <a:cubicBezTo>
                  <a:pt x="4242593" y="113407"/>
                  <a:pt x="4242593" y="113407"/>
                  <a:pt x="4133871" y="113407"/>
                </a:cubicBezTo>
                <a:lnTo>
                  <a:pt x="4052093" y="113407"/>
                </a:lnTo>
                <a:lnTo>
                  <a:pt x="4050394" y="113407"/>
                </a:lnTo>
                <a:lnTo>
                  <a:pt x="4038503" y="113407"/>
                </a:lnTo>
                <a:lnTo>
                  <a:pt x="4030245" y="113407"/>
                </a:lnTo>
                <a:lnTo>
                  <a:pt x="4006226" y="113407"/>
                </a:lnTo>
                <a:lnTo>
                  <a:pt x="3943371" y="113407"/>
                </a:lnTo>
                <a:lnTo>
                  <a:pt x="3875656" y="113407"/>
                </a:lnTo>
                <a:lnTo>
                  <a:pt x="3839745" y="113407"/>
                </a:lnTo>
                <a:lnTo>
                  <a:pt x="3776065" y="113407"/>
                </a:lnTo>
                <a:lnTo>
                  <a:pt x="3685156" y="113407"/>
                </a:lnTo>
                <a:lnTo>
                  <a:pt x="3659911" y="113407"/>
                </a:lnTo>
                <a:lnTo>
                  <a:pt x="3585565" y="113407"/>
                </a:lnTo>
                <a:lnTo>
                  <a:pt x="3525919" y="113407"/>
                </a:lnTo>
                <a:lnTo>
                  <a:pt x="3469411" y="113407"/>
                </a:lnTo>
                <a:lnTo>
                  <a:pt x="3372816" y="113407"/>
                </a:lnTo>
                <a:lnTo>
                  <a:pt x="3335419" y="113407"/>
                </a:lnTo>
                <a:lnTo>
                  <a:pt x="3202309" y="113407"/>
                </a:lnTo>
                <a:lnTo>
                  <a:pt x="3200246" y="113407"/>
                </a:lnTo>
                <a:lnTo>
                  <a:pt x="3187006" y="113407"/>
                </a:lnTo>
                <a:lnTo>
                  <a:pt x="3185815" y="113407"/>
                </a:lnTo>
                <a:lnTo>
                  <a:pt x="3182316" y="113407"/>
                </a:lnTo>
                <a:lnTo>
                  <a:pt x="3180210" y="113407"/>
                </a:lnTo>
                <a:cubicBezTo>
                  <a:pt x="3180210" y="113407"/>
                  <a:pt x="3180210" y="113407"/>
                  <a:pt x="3163716" y="113407"/>
                </a:cubicBezTo>
                <a:lnTo>
                  <a:pt x="3146643" y="113407"/>
                </a:lnTo>
                <a:lnTo>
                  <a:pt x="3124544" y="113407"/>
                </a:lnTo>
                <a:lnTo>
                  <a:pt x="3070360" y="113407"/>
                </a:lnTo>
                <a:lnTo>
                  <a:pt x="3048262" y="113407"/>
                </a:lnTo>
                <a:lnTo>
                  <a:pt x="3014437" y="113407"/>
                </a:lnTo>
                <a:lnTo>
                  <a:pt x="3011809" y="113407"/>
                </a:lnTo>
                <a:lnTo>
                  <a:pt x="3009746" y="113407"/>
                </a:lnTo>
                <a:lnTo>
                  <a:pt x="2996506" y="113407"/>
                </a:lnTo>
                <a:lnTo>
                  <a:pt x="2995315" y="113407"/>
                </a:lnTo>
                <a:lnTo>
                  <a:pt x="2992338" y="113407"/>
                </a:lnTo>
                <a:lnTo>
                  <a:pt x="2989710" y="113407"/>
                </a:lnTo>
                <a:lnTo>
                  <a:pt x="2987648" y="113407"/>
                </a:lnTo>
                <a:lnTo>
                  <a:pt x="2973216" y="113407"/>
                </a:lnTo>
                <a:lnTo>
                  <a:pt x="2956143" y="113407"/>
                </a:lnTo>
                <a:lnTo>
                  <a:pt x="2944597" y="113407"/>
                </a:lnTo>
                <a:lnTo>
                  <a:pt x="2934044" y="113407"/>
                </a:lnTo>
                <a:lnTo>
                  <a:pt x="2922498" y="113407"/>
                </a:lnTo>
                <a:lnTo>
                  <a:pt x="2879860" y="113407"/>
                </a:lnTo>
                <a:lnTo>
                  <a:pt x="2859294" y="113407"/>
                </a:lnTo>
                <a:lnTo>
                  <a:pt x="2857762" y="113407"/>
                </a:lnTo>
                <a:lnTo>
                  <a:pt x="2837195" y="113407"/>
                </a:lnTo>
                <a:lnTo>
                  <a:pt x="2823937" y="113407"/>
                </a:lnTo>
                <a:lnTo>
                  <a:pt x="2801838" y="113407"/>
                </a:lnTo>
                <a:lnTo>
                  <a:pt x="2756982" y="113407"/>
                </a:lnTo>
                <a:lnTo>
                  <a:pt x="2754097" y="113407"/>
                </a:lnTo>
                <a:lnTo>
                  <a:pt x="2734884" y="113407"/>
                </a:lnTo>
                <a:lnTo>
                  <a:pt x="2731998" y="113407"/>
                </a:lnTo>
                <a:lnTo>
                  <a:pt x="2668794" y="113407"/>
                </a:lnTo>
                <a:lnTo>
                  <a:pt x="2646695" y="113407"/>
                </a:lnTo>
                <a:lnTo>
                  <a:pt x="2636115" y="113407"/>
                </a:lnTo>
                <a:lnTo>
                  <a:pt x="2614017" y="113407"/>
                </a:lnTo>
                <a:lnTo>
                  <a:pt x="2566482" y="113407"/>
                </a:lnTo>
                <a:lnTo>
                  <a:pt x="2544384" y="113407"/>
                </a:lnTo>
                <a:lnTo>
                  <a:pt x="2495147" y="113407"/>
                </a:lnTo>
                <a:lnTo>
                  <a:pt x="2473049" y="113407"/>
                </a:lnTo>
                <a:lnTo>
                  <a:pt x="2445615" y="113407"/>
                </a:lnTo>
                <a:lnTo>
                  <a:pt x="2423517" y="113407"/>
                </a:lnTo>
                <a:lnTo>
                  <a:pt x="2332532" y="113407"/>
                </a:lnTo>
                <a:lnTo>
                  <a:pt x="2310433" y="113407"/>
                </a:lnTo>
                <a:lnTo>
                  <a:pt x="2304647" y="113407"/>
                </a:lnTo>
                <a:lnTo>
                  <a:pt x="2282549" y="113407"/>
                </a:lnTo>
                <a:lnTo>
                  <a:pt x="2146721" y="113407"/>
                </a:lnTo>
                <a:lnTo>
                  <a:pt x="2142032" y="113407"/>
                </a:lnTo>
                <a:lnTo>
                  <a:pt x="2139925" y="113407"/>
                </a:lnTo>
                <a:lnTo>
                  <a:pt x="2137864" y="113407"/>
                </a:lnTo>
                <a:lnTo>
                  <a:pt x="2124622" y="113407"/>
                </a:lnTo>
                <a:lnTo>
                  <a:pt x="2123432" y="113407"/>
                </a:lnTo>
                <a:lnTo>
                  <a:pt x="2119933" y="113407"/>
                </a:lnTo>
                <a:lnTo>
                  <a:pt x="2097049" y="113407"/>
                </a:lnTo>
                <a:cubicBezTo>
                  <a:pt x="2073661" y="113407"/>
                  <a:pt x="2037517" y="113407"/>
                  <a:pt x="1981658" y="113407"/>
                </a:cubicBezTo>
                <a:lnTo>
                  <a:pt x="1956221" y="113407"/>
                </a:lnTo>
                <a:lnTo>
                  <a:pt x="1949425" y="113407"/>
                </a:lnTo>
                <a:lnTo>
                  <a:pt x="1947364" y="113407"/>
                </a:lnTo>
                <a:lnTo>
                  <a:pt x="1934122" y="113407"/>
                </a:lnTo>
                <a:lnTo>
                  <a:pt x="1932932" y="113407"/>
                </a:lnTo>
                <a:lnTo>
                  <a:pt x="1906549" y="113407"/>
                </a:lnTo>
                <a:lnTo>
                  <a:pt x="1882214" y="113407"/>
                </a:lnTo>
                <a:lnTo>
                  <a:pt x="1861030" y="113407"/>
                </a:lnTo>
                <a:lnTo>
                  <a:pt x="1791158" y="113407"/>
                </a:lnTo>
                <a:lnTo>
                  <a:pt x="1747978" y="113407"/>
                </a:lnTo>
                <a:lnTo>
                  <a:pt x="1691714" y="113407"/>
                </a:lnTo>
                <a:lnTo>
                  <a:pt x="1573733" y="113407"/>
                </a:lnTo>
                <a:lnTo>
                  <a:pt x="1557478" y="113407"/>
                </a:lnTo>
                <a:lnTo>
                  <a:pt x="1383233" y="113407"/>
                </a:lnTo>
                <a:lnTo>
                  <a:pt x="1354259" y="113407"/>
                </a:lnTo>
                <a:lnTo>
                  <a:pt x="1163759" y="113407"/>
                </a:lnTo>
                <a:lnTo>
                  <a:pt x="1084338" y="113407"/>
                </a:lnTo>
                <a:lnTo>
                  <a:pt x="893838" y="113407"/>
                </a:lnTo>
                <a:cubicBezTo>
                  <a:pt x="820324" y="113407"/>
                  <a:pt x="727960" y="166215"/>
                  <a:pt x="690261" y="230339"/>
                </a:cubicBezTo>
                <a:cubicBezTo>
                  <a:pt x="690261" y="230339"/>
                  <a:pt x="690261" y="230339"/>
                  <a:pt x="162467" y="1145043"/>
                </a:cubicBezTo>
                <a:cubicBezTo>
                  <a:pt x="144559" y="1177105"/>
                  <a:pt x="135606" y="1219539"/>
                  <a:pt x="135606" y="1261974"/>
                </a:cubicBezTo>
                <a:close/>
                <a:moveTo>
                  <a:pt x="0" y="1261974"/>
                </a:moveTo>
                <a:cubicBezTo>
                  <a:pt x="0" y="1215349"/>
                  <a:pt x="9837" y="1168725"/>
                  <a:pt x="29513" y="1133497"/>
                </a:cubicBezTo>
                <a:cubicBezTo>
                  <a:pt x="609420" y="128477"/>
                  <a:pt x="609420" y="128477"/>
                  <a:pt x="609420" y="128477"/>
                </a:cubicBezTo>
                <a:cubicBezTo>
                  <a:pt x="650842" y="58022"/>
                  <a:pt x="752325" y="0"/>
                  <a:pt x="833098" y="0"/>
                </a:cubicBezTo>
                <a:cubicBezTo>
                  <a:pt x="1702959" y="0"/>
                  <a:pt x="1920424" y="0"/>
                  <a:pt x="1974790" y="0"/>
                </a:cubicBezTo>
                <a:lnTo>
                  <a:pt x="1976098" y="0"/>
                </a:lnTo>
                <a:lnTo>
                  <a:pt x="1990647" y="0"/>
                </a:lnTo>
                <a:lnTo>
                  <a:pt x="1992912" y="0"/>
                </a:lnTo>
                <a:lnTo>
                  <a:pt x="2000379" y="0"/>
                </a:lnTo>
                <a:lnTo>
                  <a:pt x="2180255" y="0"/>
                </a:lnTo>
                <a:lnTo>
                  <a:pt x="2204536" y="0"/>
                </a:lnTo>
                <a:lnTo>
                  <a:pt x="2358928" y="0"/>
                </a:lnTo>
                <a:lnTo>
                  <a:pt x="2383208" y="0"/>
                </a:lnTo>
                <a:lnTo>
                  <a:pt x="2513815" y="0"/>
                </a:lnTo>
                <a:lnTo>
                  <a:pt x="2538095" y="0"/>
                </a:lnTo>
                <a:lnTo>
                  <a:pt x="2646616" y="0"/>
                </a:lnTo>
                <a:lnTo>
                  <a:pt x="2670896" y="0"/>
                </a:lnTo>
                <a:lnTo>
                  <a:pt x="2759029" y="0"/>
                </a:lnTo>
                <a:lnTo>
                  <a:pt x="2783310" y="0"/>
                </a:lnTo>
                <a:lnTo>
                  <a:pt x="2852754" y="0"/>
                </a:lnTo>
                <a:lnTo>
                  <a:pt x="2877035" y="0"/>
                </a:lnTo>
                <a:lnTo>
                  <a:pt x="2929490" y="0"/>
                </a:lnTo>
                <a:lnTo>
                  <a:pt x="2953771" y="0"/>
                </a:lnTo>
                <a:lnTo>
                  <a:pt x="2990936" y="0"/>
                </a:lnTo>
                <a:lnTo>
                  <a:pt x="3015216" y="0"/>
                </a:lnTo>
                <a:lnTo>
                  <a:pt x="3074750" y="0"/>
                </a:lnTo>
                <a:lnTo>
                  <a:pt x="3099031" y="0"/>
                </a:lnTo>
                <a:lnTo>
                  <a:pt x="3117790" y="0"/>
                </a:lnTo>
                <a:cubicBezTo>
                  <a:pt x="3135912" y="0"/>
                  <a:pt x="3135912" y="0"/>
                  <a:pt x="3135912" y="0"/>
                </a:cubicBezTo>
                <a:lnTo>
                  <a:pt x="3142071" y="0"/>
                </a:lnTo>
                <a:lnTo>
                  <a:pt x="3143379" y="0"/>
                </a:lnTo>
                <a:lnTo>
                  <a:pt x="3157927" y="0"/>
                </a:lnTo>
                <a:lnTo>
                  <a:pt x="3160193" y="0"/>
                </a:lnTo>
                <a:lnTo>
                  <a:pt x="3347536" y="0"/>
                </a:lnTo>
                <a:cubicBezTo>
                  <a:pt x="4303193" y="0"/>
                  <a:pt x="4303193" y="0"/>
                  <a:pt x="4303193" y="0"/>
                </a:cubicBezTo>
                <a:cubicBezTo>
                  <a:pt x="4386037" y="0"/>
                  <a:pt x="4485449" y="58022"/>
                  <a:pt x="4526872" y="128477"/>
                </a:cubicBezTo>
                <a:cubicBezTo>
                  <a:pt x="5106779" y="1133497"/>
                  <a:pt x="5106779" y="1133497"/>
                  <a:pt x="5106779" y="1133497"/>
                </a:cubicBezTo>
                <a:cubicBezTo>
                  <a:pt x="5148200" y="1203952"/>
                  <a:pt x="5148200" y="1319996"/>
                  <a:pt x="5106779" y="1390451"/>
                </a:cubicBezTo>
                <a:cubicBezTo>
                  <a:pt x="4526872" y="2395471"/>
                  <a:pt x="4526872" y="2395471"/>
                  <a:pt x="4526872" y="2395471"/>
                </a:cubicBezTo>
                <a:cubicBezTo>
                  <a:pt x="4485449" y="2465926"/>
                  <a:pt x="4386037" y="2523948"/>
                  <a:pt x="4303193" y="2523948"/>
                </a:cubicBezTo>
                <a:lnTo>
                  <a:pt x="3160193" y="2523948"/>
                </a:lnTo>
                <a:lnTo>
                  <a:pt x="3143379" y="2523948"/>
                </a:lnTo>
                <a:lnTo>
                  <a:pt x="3135912" y="2523948"/>
                </a:lnTo>
                <a:lnTo>
                  <a:pt x="2000379" y="2523948"/>
                </a:lnTo>
                <a:lnTo>
                  <a:pt x="1992912" y="2523948"/>
                </a:lnTo>
                <a:lnTo>
                  <a:pt x="1976098" y="2523948"/>
                </a:lnTo>
                <a:lnTo>
                  <a:pt x="833098" y="2523948"/>
                </a:lnTo>
                <a:cubicBezTo>
                  <a:pt x="752325" y="2523948"/>
                  <a:pt x="650842" y="2465926"/>
                  <a:pt x="609420" y="2395471"/>
                </a:cubicBezTo>
                <a:cubicBezTo>
                  <a:pt x="29513" y="1390451"/>
                  <a:pt x="29513" y="1390451"/>
                  <a:pt x="29513" y="1390451"/>
                </a:cubicBezTo>
                <a:cubicBezTo>
                  <a:pt x="9837" y="1355223"/>
                  <a:pt x="0" y="1308599"/>
                  <a:pt x="0" y="1261974"/>
                </a:cubicBezTo>
                <a:close/>
              </a:path>
            </a:pathLst>
          </a:custGeom>
          <a:solidFill>
            <a:srgbClr val="02919F"/>
          </a:solidFill>
          <a:ln w="25400">
            <a:solidFill>
              <a:srgbClr val="02919F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 sz="2000">
              <a:solidFill>
                <a:prstClr val="black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6" name="任意多边形 70"/>
          <p:cNvSpPr>
            <a:spLocks/>
          </p:cNvSpPr>
          <p:nvPr/>
        </p:nvSpPr>
        <p:spPr bwMode="auto">
          <a:xfrm rot="5400000">
            <a:off x="4014272" y="4109898"/>
            <a:ext cx="2273437" cy="1760195"/>
          </a:xfrm>
          <a:custGeom>
            <a:avLst/>
            <a:gdLst>
              <a:gd name="connsiteX0" fmla="*/ 135606 w 5137844"/>
              <a:gd name="connsiteY0" fmla="*/ 1261974 h 2523948"/>
              <a:gd name="connsiteX1" fmla="*/ 162467 w 5137844"/>
              <a:gd name="connsiteY1" fmla="*/ 1378906 h 2523948"/>
              <a:gd name="connsiteX2" fmla="*/ 690261 w 5137844"/>
              <a:gd name="connsiteY2" fmla="*/ 2293610 h 2523948"/>
              <a:gd name="connsiteX3" fmla="*/ 893838 w 5137844"/>
              <a:gd name="connsiteY3" fmla="*/ 2410541 h 2523948"/>
              <a:gd name="connsiteX4" fmla="*/ 1084338 w 5137844"/>
              <a:gd name="connsiteY4" fmla="*/ 2410541 h 2523948"/>
              <a:gd name="connsiteX5" fmla="*/ 1934122 w 5137844"/>
              <a:gd name="connsiteY5" fmla="*/ 2410541 h 2523948"/>
              <a:gd name="connsiteX6" fmla="*/ 1949425 w 5137844"/>
              <a:gd name="connsiteY6" fmla="*/ 2410541 h 2523948"/>
              <a:gd name="connsiteX7" fmla="*/ 1956221 w 5137844"/>
              <a:gd name="connsiteY7" fmla="*/ 2410541 h 2523948"/>
              <a:gd name="connsiteX8" fmla="*/ 2124622 w 5137844"/>
              <a:gd name="connsiteY8" fmla="*/ 2410541 h 2523948"/>
              <a:gd name="connsiteX9" fmla="*/ 2139925 w 5137844"/>
              <a:gd name="connsiteY9" fmla="*/ 2410541 h 2523948"/>
              <a:gd name="connsiteX10" fmla="*/ 2146721 w 5137844"/>
              <a:gd name="connsiteY10" fmla="*/ 2410541 h 2523948"/>
              <a:gd name="connsiteX11" fmla="*/ 2989710 w 5137844"/>
              <a:gd name="connsiteY11" fmla="*/ 2410541 h 2523948"/>
              <a:gd name="connsiteX12" fmla="*/ 2996506 w 5137844"/>
              <a:gd name="connsiteY12" fmla="*/ 2410541 h 2523948"/>
              <a:gd name="connsiteX13" fmla="*/ 3011809 w 5137844"/>
              <a:gd name="connsiteY13" fmla="*/ 2410541 h 2523948"/>
              <a:gd name="connsiteX14" fmla="*/ 3180210 w 5137844"/>
              <a:gd name="connsiteY14" fmla="*/ 2410541 h 2523948"/>
              <a:gd name="connsiteX15" fmla="*/ 3187006 w 5137844"/>
              <a:gd name="connsiteY15" fmla="*/ 2410541 h 2523948"/>
              <a:gd name="connsiteX16" fmla="*/ 3202309 w 5137844"/>
              <a:gd name="connsiteY16" fmla="*/ 2410541 h 2523948"/>
              <a:gd name="connsiteX17" fmla="*/ 4052093 w 5137844"/>
              <a:gd name="connsiteY17" fmla="*/ 2410541 h 2523948"/>
              <a:gd name="connsiteX18" fmla="*/ 4242593 w 5137844"/>
              <a:gd name="connsiteY18" fmla="*/ 2410541 h 2523948"/>
              <a:gd name="connsiteX19" fmla="*/ 4446171 w 5137844"/>
              <a:gd name="connsiteY19" fmla="*/ 2293610 h 2523948"/>
              <a:gd name="connsiteX20" fmla="*/ 4973965 w 5137844"/>
              <a:gd name="connsiteY20" fmla="*/ 1378906 h 2523948"/>
              <a:gd name="connsiteX21" fmla="*/ 4973965 w 5137844"/>
              <a:gd name="connsiteY21" fmla="*/ 1145043 h 2523948"/>
              <a:gd name="connsiteX22" fmla="*/ 4446171 w 5137844"/>
              <a:gd name="connsiteY22" fmla="*/ 230339 h 2523948"/>
              <a:gd name="connsiteX23" fmla="*/ 4242593 w 5137844"/>
              <a:gd name="connsiteY23" fmla="*/ 113407 h 2523948"/>
              <a:gd name="connsiteX24" fmla="*/ 4133871 w 5137844"/>
              <a:gd name="connsiteY24" fmla="*/ 113407 h 2523948"/>
              <a:gd name="connsiteX25" fmla="*/ 4052093 w 5137844"/>
              <a:gd name="connsiteY25" fmla="*/ 113407 h 2523948"/>
              <a:gd name="connsiteX26" fmla="*/ 4050394 w 5137844"/>
              <a:gd name="connsiteY26" fmla="*/ 113407 h 2523948"/>
              <a:gd name="connsiteX27" fmla="*/ 4038503 w 5137844"/>
              <a:gd name="connsiteY27" fmla="*/ 113407 h 2523948"/>
              <a:gd name="connsiteX28" fmla="*/ 4030245 w 5137844"/>
              <a:gd name="connsiteY28" fmla="*/ 113407 h 2523948"/>
              <a:gd name="connsiteX29" fmla="*/ 4006226 w 5137844"/>
              <a:gd name="connsiteY29" fmla="*/ 113407 h 2523948"/>
              <a:gd name="connsiteX30" fmla="*/ 3943371 w 5137844"/>
              <a:gd name="connsiteY30" fmla="*/ 113407 h 2523948"/>
              <a:gd name="connsiteX31" fmla="*/ 3875656 w 5137844"/>
              <a:gd name="connsiteY31" fmla="*/ 113407 h 2523948"/>
              <a:gd name="connsiteX32" fmla="*/ 3839745 w 5137844"/>
              <a:gd name="connsiteY32" fmla="*/ 113407 h 2523948"/>
              <a:gd name="connsiteX33" fmla="*/ 3776065 w 5137844"/>
              <a:gd name="connsiteY33" fmla="*/ 113407 h 2523948"/>
              <a:gd name="connsiteX34" fmla="*/ 3685156 w 5137844"/>
              <a:gd name="connsiteY34" fmla="*/ 113407 h 2523948"/>
              <a:gd name="connsiteX35" fmla="*/ 3659911 w 5137844"/>
              <a:gd name="connsiteY35" fmla="*/ 113407 h 2523948"/>
              <a:gd name="connsiteX36" fmla="*/ 3585565 w 5137844"/>
              <a:gd name="connsiteY36" fmla="*/ 113407 h 2523948"/>
              <a:gd name="connsiteX37" fmla="*/ 3525919 w 5137844"/>
              <a:gd name="connsiteY37" fmla="*/ 113407 h 2523948"/>
              <a:gd name="connsiteX38" fmla="*/ 3469411 w 5137844"/>
              <a:gd name="connsiteY38" fmla="*/ 113407 h 2523948"/>
              <a:gd name="connsiteX39" fmla="*/ 3372816 w 5137844"/>
              <a:gd name="connsiteY39" fmla="*/ 113407 h 2523948"/>
              <a:gd name="connsiteX40" fmla="*/ 3335419 w 5137844"/>
              <a:gd name="connsiteY40" fmla="*/ 113407 h 2523948"/>
              <a:gd name="connsiteX41" fmla="*/ 3202309 w 5137844"/>
              <a:gd name="connsiteY41" fmla="*/ 113407 h 2523948"/>
              <a:gd name="connsiteX42" fmla="*/ 3200246 w 5137844"/>
              <a:gd name="connsiteY42" fmla="*/ 113407 h 2523948"/>
              <a:gd name="connsiteX43" fmla="*/ 3187006 w 5137844"/>
              <a:gd name="connsiteY43" fmla="*/ 113407 h 2523948"/>
              <a:gd name="connsiteX44" fmla="*/ 3185815 w 5137844"/>
              <a:gd name="connsiteY44" fmla="*/ 113407 h 2523948"/>
              <a:gd name="connsiteX45" fmla="*/ 3182316 w 5137844"/>
              <a:gd name="connsiteY45" fmla="*/ 113407 h 2523948"/>
              <a:gd name="connsiteX46" fmla="*/ 3180210 w 5137844"/>
              <a:gd name="connsiteY46" fmla="*/ 113407 h 2523948"/>
              <a:gd name="connsiteX47" fmla="*/ 3163716 w 5137844"/>
              <a:gd name="connsiteY47" fmla="*/ 113407 h 2523948"/>
              <a:gd name="connsiteX48" fmla="*/ 3146643 w 5137844"/>
              <a:gd name="connsiteY48" fmla="*/ 113407 h 2523948"/>
              <a:gd name="connsiteX49" fmla="*/ 3124544 w 5137844"/>
              <a:gd name="connsiteY49" fmla="*/ 113407 h 2523948"/>
              <a:gd name="connsiteX50" fmla="*/ 3070360 w 5137844"/>
              <a:gd name="connsiteY50" fmla="*/ 113407 h 2523948"/>
              <a:gd name="connsiteX51" fmla="*/ 3048262 w 5137844"/>
              <a:gd name="connsiteY51" fmla="*/ 113407 h 2523948"/>
              <a:gd name="connsiteX52" fmla="*/ 3014437 w 5137844"/>
              <a:gd name="connsiteY52" fmla="*/ 113407 h 2523948"/>
              <a:gd name="connsiteX53" fmla="*/ 3011809 w 5137844"/>
              <a:gd name="connsiteY53" fmla="*/ 113407 h 2523948"/>
              <a:gd name="connsiteX54" fmla="*/ 3009746 w 5137844"/>
              <a:gd name="connsiteY54" fmla="*/ 113407 h 2523948"/>
              <a:gd name="connsiteX55" fmla="*/ 2996506 w 5137844"/>
              <a:gd name="connsiteY55" fmla="*/ 113407 h 2523948"/>
              <a:gd name="connsiteX56" fmla="*/ 2995315 w 5137844"/>
              <a:gd name="connsiteY56" fmla="*/ 113407 h 2523948"/>
              <a:gd name="connsiteX57" fmla="*/ 2992338 w 5137844"/>
              <a:gd name="connsiteY57" fmla="*/ 113407 h 2523948"/>
              <a:gd name="connsiteX58" fmla="*/ 2989710 w 5137844"/>
              <a:gd name="connsiteY58" fmla="*/ 113407 h 2523948"/>
              <a:gd name="connsiteX59" fmla="*/ 2987648 w 5137844"/>
              <a:gd name="connsiteY59" fmla="*/ 113407 h 2523948"/>
              <a:gd name="connsiteX60" fmla="*/ 2973216 w 5137844"/>
              <a:gd name="connsiteY60" fmla="*/ 113407 h 2523948"/>
              <a:gd name="connsiteX61" fmla="*/ 2956143 w 5137844"/>
              <a:gd name="connsiteY61" fmla="*/ 113407 h 2523948"/>
              <a:gd name="connsiteX62" fmla="*/ 2944597 w 5137844"/>
              <a:gd name="connsiteY62" fmla="*/ 113407 h 2523948"/>
              <a:gd name="connsiteX63" fmla="*/ 2934044 w 5137844"/>
              <a:gd name="connsiteY63" fmla="*/ 113407 h 2523948"/>
              <a:gd name="connsiteX64" fmla="*/ 2922498 w 5137844"/>
              <a:gd name="connsiteY64" fmla="*/ 113407 h 2523948"/>
              <a:gd name="connsiteX65" fmla="*/ 2879860 w 5137844"/>
              <a:gd name="connsiteY65" fmla="*/ 113407 h 2523948"/>
              <a:gd name="connsiteX66" fmla="*/ 2859294 w 5137844"/>
              <a:gd name="connsiteY66" fmla="*/ 113407 h 2523948"/>
              <a:gd name="connsiteX67" fmla="*/ 2857762 w 5137844"/>
              <a:gd name="connsiteY67" fmla="*/ 113407 h 2523948"/>
              <a:gd name="connsiteX68" fmla="*/ 2837195 w 5137844"/>
              <a:gd name="connsiteY68" fmla="*/ 113407 h 2523948"/>
              <a:gd name="connsiteX69" fmla="*/ 2823937 w 5137844"/>
              <a:gd name="connsiteY69" fmla="*/ 113407 h 2523948"/>
              <a:gd name="connsiteX70" fmla="*/ 2801838 w 5137844"/>
              <a:gd name="connsiteY70" fmla="*/ 113407 h 2523948"/>
              <a:gd name="connsiteX71" fmla="*/ 2756982 w 5137844"/>
              <a:gd name="connsiteY71" fmla="*/ 113407 h 2523948"/>
              <a:gd name="connsiteX72" fmla="*/ 2754097 w 5137844"/>
              <a:gd name="connsiteY72" fmla="*/ 113407 h 2523948"/>
              <a:gd name="connsiteX73" fmla="*/ 2734884 w 5137844"/>
              <a:gd name="connsiteY73" fmla="*/ 113407 h 2523948"/>
              <a:gd name="connsiteX74" fmla="*/ 2731998 w 5137844"/>
              <a:gd name="connsiteY74" fmla="*/ 113407 h 2523948"/>
              <a:gd name="connsiteX75" fmla="*/ 2668794 w 5137844"/>
              <a:gd name="connsiteY75" fmla="*/ 113407 h 2523948"/>
              <a:gd name="connsiteX76" fmla="*/ 2646695 w 5137844"/>
              <a:gd name="connsiteY76" fmla="*/ 113407 h 2523948"/>
              <a:gd name="connsiteX77" fmla="*/ 2636115 w 5137844"/>
              <a:gd name="connsiteY77" fmla="*/ 113407 h 2523948"/>
              <a:gd name="connsiteX78" fmla="*/ 2614017 w 5137844"/>
              <a:gd name="connsiteY78" fmla="*/ 113407 h 2523948"/>
              <a:gd name="connsiteX79" fmla="*/ 2566482 w 5137844"/>
              <a:gd name="connsiteY79" fmla="*/ 113407 h 2523948"/>
              <a:gd name="connsiteX80" fmla="*/ 2544384 w 5137844"/>
              <a:gd name="connsiteY80" fmla="*/ 113407 h 2523948"/>
              <a:gd name="connsiteX81" fmla="*/ 2495147 w 5137844"/>
              <a:gd name="connsiteY81" fmla="*/ 113407 h 2523948"/>
              <a:gd name="connsiteX82" fmla="*/ 2473049 w 5137844"/>
              <a:gd name="connsiteY82" fmla="*/ 113407 h 2523948"/>
              <a:gd name="connsiteX83" fmla="*/ 2445615 w 5137844"/>
              <a:gd name="connsiteY83" fmla="*/ 113407 h 2523948"/>
              <a:gd name="connsiteX84" fmla="*/ 2423517 w 5137844"/>
              <a:gd name="connsiteY84" fmla="*/ 113407 h 2523948"/>
              <a:gd name="connsiteX85" fmla="*/ 2332532 w 5137844"/>
              <a:gd name="connsiteY85" fmla="*/ 113407 h 2523948"/>
              <a:gd name="connsiteX86" fmla="*/ 2310433 w 5137844"/>
              <a:gd name="connsiteY86" fmla="*/ 113407 h 2523948"/>
              <a:gd name="connsiteX87" fmla="*/ 2304647 w 5137844"/>
              <a:gd name="connsiteY87" fmla="*/ 113407 h 2523948"/>
              <a:gd name="connsiteX88" fmla="*/ 2282549 w 5137844"/>
              <a:gd name="connsiteY88" fmla="*/ 113407 h 2523948"/>
              <a:gd name="connsiteX89" fmla="*/ 2146721 w 5137844"/>
              <a:gd name="connsiteY89" fmla="*/ 113407 h 2523948"/>
              <a:gd name="connsiteX90" fmla="*/ 2142032 w 5137844"/>
              <a:gd name="connsiteY90" fmla="*/ 113407 h 2523948"/>
              <a:gd name="connsiteX91" fmla="*/ 2139925 w 5137844"/>
              <a:gd name="connsiteY91" fmla="*/ 113407 h 2523948"/>
              <a:gd name="connsiteX92" fmla="*/ 2137864 w 5137844"/>
              <a:gd name="connsiteY92" fmla="*/ 113407 h 2523948"/>
              <a:gd name="connsiteX93" fmla="*/ 2124622 w 5137844"/>
              <a:gd name="connsiteY93" fmla="*/ 113407 h 2523948"/>
              <a:gd name="connsiteX94" fmla="*/ 2123432 w 5137844"/>
              <a:gd name="connsiteY94" fmla="*/ 113407 h 2523948"/>
              <a:gd name="connsiteX95" fmla="*/ 2119933 w 5137844"/>
              <a:gd name="connsiteY95" fmla="*/ 113407 h 2523948"/>
              <a:gd name="connsiteX96" fmla="*/ 2097049 w 5137844"/>
              <a:gd name="connsiteY96" fmla="*/ 113407 h 2523948"/>
              <a:gd name="connsiteX97" fmla="*/ 1981658 w 5137844"/>
              <a:gd name="connsiteY97" fmla="*/ 113407 h 2523948"/>
              <a:gd name="connsiteX98" fmla="*/ 1956221 w 5137844"/>
              <a:gd name="connsiteY98" fmla="*/ 113407 h 2523948"/>
              <a:gd name="connsiteX99" fmla="*/ 1949425 w 5137844"/>
              <a:gd name="connsiteY99" fmla="*/ 113407 h 2523948"/>
              <a:gd name="connsiteX100" fmla="*/ 1947364 w 5137844"/>
              <a:gd name="connsiteY100" fmla="*/ 113407 h 2523948"/>
              <a:gd name="connsiteX101" fmla="*/ 1934122 w 5137844"/>
              <a:gd name="connsiteY101" fmla="*/ 113407 h 2523948"/>
              <a:gd name="connsiteX102" fmla="*/ 1932932 w 5137844"/>
              <a:gd name="connsiteY102" fmla="*/ 113407 h 2523948"/>
              <a:gd name="connsiteX103" fmla="*/ 1906549 w 5137844"/>
              <a:gd name="connsiteY103" fmla="*/ 113407 h 2523948"/>
              <a:gd name="connsiteX104" fmla="*/ 1882214 w 5137844"/>
              <a:gd name="connsiteY104" fmla="*/ 113407 h 2523948"/>
              <a:gd name="connsiteX105" fmla="*/ 1861030 w 5137844"/>
              <a:gd name="connsiteY105" fmla="*/ 113407 h 2523948"/>
              <a:gd name="connsiteX106" fmla="*/ 1791158 w 5137844"/>
              <a:gd name="connsiteY106" fmla="*/ 113407 h 2523948"/>
              <a:gd name="connsiteX107" fmla="*/ 1747978 w 5137844"/>
              <a:gd name="connsiteY107" fmla="*/ 113407 h 2523948"/>
              <a:gd name="connsiteX108" fmla="*/ 1691714 w 5137844"/>
              <a:gd name="connsiteY108" fmla="*/ 113407 h 2523948"/>
              <a:gd name="connsiteX109" fmla="*/ 1573733 w 5137844"/>
              <a:gd name="connsiteY109" fmla="*/ 113407 h 2523948"/>
              <a:gd name="connsiteX110" fmla="*/ 1557478 w 5137844"/>
              <a:gd name="connsiteY110" fmla="*/ 113407 h 2523948"/>
              <a:gd name="connsiteX111" fmla="*/ 1383233 w 5137844"/>
              <a:gd name="connsiteY111" fmla="*/ 113407 h 2523948"/>
              <a:gd name="connsiteX112" fmla="*/ 1354259 w 5137844"/>
              <a:gd name="connsiteY112" fmla="*/ 113407 h 2523948"/>
              <a:gd name="connsiteX113" fmla="*/ 1163759 w 5137844"/>
              <a:gd name="connsiteY113" fmla="*/ 113407 h 2523948"/>
              <a:gd name="connsiteX114" fmla="*/ 1084338 w 5137844"/>
              <a:gd name="connsiteY114" fmla="*/ 113407 h 2523948"/>
              <a:gd name="connsiteX115" fmla="*/ 893838 w 5137844"/>
              <a:gd name="connsiteY115" fmla="*/ 113407 h 2523948"/>
              <a:gd name="connsiteX116" fmla="*/ 690261 w 5137844"/>
              <a:gd name="connsiteY116" fmla="*/ 230339 h 2523948"/>
              <a:gd name="connsiteX117" fmla="*/ 162467 w 5137844"/>
              <a:gd name="connsiteY117" fmla="*/ 1145043 h 2523948"/>
              <a:gd name="connsiteX118" fmla="*/ 135606 w 5137844"/>
              <a:gd name="connsiteY118" fmla="*/ 1261974 h 2523948"/>
              <a:gd name="connsiteX119" fmla="*/ 0 w 5137844"/>
              <a:gd name="connsiteY119" fmla="*/ 1261974 h 2523948"/>
              <a:gd name="connsiteX120" fmla="*/ 29513 w 5137844"/>
              <a:gd name="connsiteY120" fmla="*/ 1133497 h 2523948"/>
              <a:gd name="connsiteX121" fmla="*/ 609420 w 5137844"/>
              <a:gd name="connsiteY121" fmla="*/ 128477 h 2523948"/>
              <a:gd name="connsiteX122" fmla="*/ 833098 w 5137844"/>
              <a:gd name="connsiteY122" fmla="*/ 0 h 2523948"/>
              <a:gd name="connsiteX123" fmla="*/ 1974790 w 5137844"/>
              <a:gd name="connsiteY123" fmla="*/ 0 h 2523948"/>
              <a:gd name="connsiteX124" fmla="*/ 1976098 w 5137844"/>
              <a:gd name="connsiteY124" fmla="*/ 0 h 2523948"/>
              <a:gd name="connsiteX125" fmla="*/ 1990647 w 5137844"/>
              <a:gd name="connsiteY125" fmla="*/ 0 h 2523948"/>
              <a:gd name="connsiteX126" fmla="*/ 1992912 w 5137844"/>
              <a:gd name="connsiteY126" fmla="*/ 0 h 2523948"/>
              <a:gd name="connsiteX127" fmla="*/ 2000379 w 5137844"/>
              <a:gd name="connsiteY127" fmla="*/ 0 h 2523948"/>
              <a:gd name="connsiteX128" fmla="*/ 2180255 w 5137844"/>
              <a:gd name="connsiteY128" fmla="*/ 0 h 2523948"/>
              <a:gd name="connsiteX129" fmla="*/ 2204536 w 5137844"/>
              <a:gd name="connsiteY129" fmla="*/ 0 h 2523948"/>
              <a:gd name="connsiteX130" fmla="*/ 2358928 w 5137844"/>
              <a:gd name="connsiteY130" fmla="*/ 0 h 2523948"/>
              <a:gd name="connsiteX131" fmla="*/ 2383208 w 5137844"/>
              <a:gd name="connsiteY131" fmla="*/ 0 h 2523948"/>
              <a:gd name="connsiteX132" fmla="*/ 2513815 w 5137844"/>
              <a:gd name="connsiteY132" fmla="*/ 0 h 2523948"/>
              <a:gd name="connsiteX133" fmla="*/ 2538095 w 5137844"/>
              <a:gd name="connsiteY133" fmla="*/ 0 h 2523948"/>
              <a:gd name="connsiteX134" fmla="*/ 2646616 w 5137844"/>
              <a:gd name="connsiteY134" fmla="*/ 0 h 2523948"/>
              <a:gd name="connsiteX135" fmla="*/ 2670896 w 5137844"/>
              <a:gd name="connsiteY135" fmla="*/ 0 h 2523948"/>
              <a:gd name="connsiteX136" fmla="*/ 2759029 w 5137844"/>
              <a:gd name="connsiteY136" fmla="*/ 0 h 2523948"/>
              <a:gd name="connsiteX137" fmla="*/ 2783310 w 5137844"/>
              <a:gd name="connsiteY137" fmla="*/ 0 h 2523948"/>
              <a:gd name="connsiteX138" fmla="*/ 2852754 w 5137844"/>
              <a:gd name="connsiteY138" fmla="*/ 0 h 2523948"/>
              <a:gd name="connsiteX139" fmla="*/ 2877035 w 5137844"/>
              <a:gd name="connsiteY139" fmla="*/ 0 h 2523948"/>
              <a:gd name="connsiteX140" fmla="*/ 2929490 w 5137844"/>
              <a:gd name="connsiteY140" fmla="*/ 0 h 2523948"/>
              <a:gd name="connsiteX141" fmla="*/ 2953771 w 5137844"/>
              <a:gd name="connsiteY141" fmla="*/ 0 h 2523948"/>
              <a:gd name="connsiteX142" fmla="*/ 2990936 w 5137844"/>
              <a:gd name="connsiteY142" fmla="*/ 0 h 2523948"/>
              <a:gd name="connsiteX143" fmla="*/ 3015216 w 5137844"/>
              <a:gd name="connsiteY143" fmla="*/ 0 h 2523948"/>
              <a:gd name="connsiteX144" fmla="*/ 3074750 w 5137844"/>
              <a:gd name="connsiteY144" fmla="*/ 0 h 2523948"/>
              <a:gd name="connsiteX145" fmla="*/ 3099031 w 5137844"/>
              <a:gd name="connsiteY145" fmla="*/ 0 h 2523948"/>
              <a:gd name="connsiteX146" fmla="*/ 3117790 w 5137844"/>
              <a:gd name="connsiteY146" fmla="*/ 0 h 2523948"/>
              <a:gd name="connsiteX147" fmla="*/ 3135912 w 5137844"/>
              <a:gd name="connsiteY147" fmla="*/ 0 h 2523948"/>
              <a:gd name="connsiteX148" fmla="*/ 3142071 w 5137844"/>
              <a:gd name="connsiteY148" fmla="*/ 0 h 2523948"/>
              <a:gd name="connsiteX149" fmla="*/ 3143379 w 5137844"/>
              <a:gd name="connsiteY149" fmla="*/ 0 h 2523948"/>
              <a:gd name="connsiteX150" fmla="*/ 3157927 w 5137844"/>
              <a:gd name="connsiteY150" fmla="*/ 0 h 2523948"/>
              <a:gd name="connsiteX151" fmla="*/ 3160193 w 5137844"/>
              <a:gd name="connsiteY151" fmla="*/ 0 h 2523948"/>
              <a:gd name="connsiteX152" fmla="*/ 3347536 w 5137844"/>
              <a:gd name="connsiteY152" fmla="*/ 0 h 2523948"/>
              <a:gd name="connsiteX153" fmla="*/ 4303193 w 5137844"/>
              <a:gd name="connsiteY153" fmla="*/ 0 h 2523948"/>
              <a:gd name="connsiteX154" fmla="*/ 4526872 w 5137844"/>
              <a:gd name="connsiteY154" fmla="*/ 128477 h 2523948"/>
              <a:gd name="connsiteX155" fmla="*/ 5106779 w 5137844"/>
              <a:gd name="connsiteY155" fmla="*/ 1133497 h 2523948"/>
              <a:gd name="connsiteX156" fmla="*/ 5106779 w 5137844"/>
              <a:gd name="connsiteY156" fmla="*/ 1390451 h 2523948"/>
              <a:gd name="connsiteX157" fmla="*/ 4526872 w 5137844"/>
              <a:gd name="connsiteY157" fmla="*/ 2395471 h 2523948"/>
              <a:gd name="connsiteX158" fmla="*/ 4303193 w 5137844"/>
              <a:gd name="connsiteY158" fmla="*/ 2523948 h 2523948"/>
              <a:gd name="connsiteX159" fmla="*/ 3160193 w 5137844"/>
              <a:gd name="connsiteY159" fmla="*/ 2523948 h 2523948"/>
              <a:gd name="connsiteX160" fmla="*/ 3143379 w 5137844"/>
              <a:gd name="connsiteY160" fmla="*/ 2523948 h 2523948"/>
              <a:gd name="connsiteX161" fmla="*/ 3135912 w 5137844"/>
              <a:gd name="connsiteY161" fmla="*/ 2523948 h 2523948"/>
              <a:gd name="connsiteX162" fmla="*/ 2000379 w 5137844"/>
              <a:gd name="connsiteY162" fmla="*/ 2523948 h 2523948"/>
              <a:gd name="connsiteX163" fmla="*/ 1992912 w 5137844"/>
              <a:gd name="connsiteY163" fmla="*/ 2523948 h 2523948"/>
              <a:gd name="connsiteX164" fmla="*/ 1976098 w 5137844"/>
              <a:gd name="connsiteY164" fmla="*/ 2523948 h 2523948"/>
              <a:gd name="connsiteX165" fmla="*/ 833098 w 5137844"/>
              <a:gd name="connsiteY165" fmla="*/ 2523948 h 2523948"/>
              <a:gd name="connsiteX166" fmla="*/ 609420 w 5137844"/>
              <a:gd name="connsiteY166" fmla="*/ 2395471 h 2523948"/>
              <a:gd name="connsiteX167" fmla="*/ 29513 w 5137844"/>
              <a:gd name="connsiteY167" fmla="*/ 1390451 h 2523948"/>
              <a:gd name="connsiteX168" fmla="*/ 0 w 5137844"/>
              <a:gd name="connsiteY168" fmla="*/ 1261974 h 2523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5137844" h="2523948">
                <a:moveTo>
                  <a:pt x="135606" y="1261974"/>
                </a:moveTo>
                <a:cubicBezTo>
                  <a:pt x="135606" y="1304409"/>
                  <a:pt x="144559" y="1346843"/>
                  <a:pt x="162467" y="1378906"/>
                </a:cubicBezTo>
                <a:cubicBezTo>
                  <a:pt x="162467" y="1378906"/>
                  <a:pt x="162467" y="1378906"/>
                  <a:pt x="690261" y="2293610"/>
                </a:cubicBezTo>
                <a:cubicBezTo>
                  <a:pt x="727960" y="2357733"/>
                  <a:pt x="820324" y="2410541"/>
                  <a:pt x="893838" y="2410541"/>
                </a:cubicBezTo>
                <a:lnTo>
                  <a:pt x="1084338" y="2410541"/>
                </a:lnTo>
                <a:lnTo>
                  <a:pt x="1934122" y="2410541"/>
                </a:lnTo>
                <a:lnTo>
                  <a:pt x="1949425" y="2410541"/>
                </a:lnTo>
                <a:lnTo>
                  <a:pt x="1956221" y="2410541"/>
                </a:lnTo>
                <a:lnTo>
                  <a:pt x="2124622" y="2410541"/>
                </a:lnTo>
                <a:lnTo>
                  <a:pt x="2139925" y="2410541"/>
                </a:lnTo>
                <a:lnTo>
                  <a:pt x="2146721" y="2410541"/>
                </a:lnTo>
                <a:lnTo>
                  <a:pt x="2989710" y="2410541"/>
                </a:lnTo>
                <a:lnTo>
                  <a:pt x="2996506" y="2410541"/>
                </a:lnTo>
                <a:lnTo>
                  <a:pt x="3011809" y="2410541"/>
                </a:lnTo>
                <a:lnTo>
                  <a:pt x="3180210" y="2410541"/>
                </a:lnTo>
                <a:lnTo>
                  <a:pt x="3187006" y="2410541"/>
                </a:lnTo>
                <a:lnTo>
                  <a:pt x="3202309" y="2410541"/>
                </a:lnTo>
                <a:lnTo>
                  <a:pt x="4052093" y="2410541"/>
                </a:lnTo>
                <a:lnTo>
                  <a:pt x="4242593" y="2410541"/>
                </a:lnTo>
                <a:cubicBezTo>
                  <a:pt x="4317992" y="2410541"/>
                  <a:pt x="4408471" y="2357733"/>
                  <a:pt x="4446171" y="2293610"/>
                </a:cubicBezTo>
                <a:cubicBezTo>
                  <a:pt x="4446171" y="2293610"/>
                  <a:pt x="4446171" y="2293610"/>
                  <a:pt x="4973965" y="1378906"/>
                </a:cubicBezTo>
                <a:cubicBezTo>
                  <a:pt x="5011664" y="1314782"/>
                  <a:pt x="5011664" y="1209166"/>
                  <a:pt x="4973965" y="1145043"/>
                </a:cubicBezTo>
                <a:cubicBezTo>
                  <a:pt x="4973965" y="1145043"/>
                  <a:pt x="4973965" y="1145043"/>
                  <a:pt x="4446171" y="230339"/>
                </a:cubicBezTo>
                <a:cubicBezTo>
                  <a:pt x="4408471" y="166215"/>
                  <a:pt x="4317992" y="113407"/>
                  <a:pt x="4242593" y="113407"/>
                </a:cubicBezTo>
                <a:cubicBezTo>
                  <a:pt x="4242593" y="113407"/>
                  <a:pt x="4242593" y="113407"/>
                  <a:pt x="4133871" y="113407"/>
                </a:cubicBezTo>
                <a:lnTo>
                  <a:pt x="4052093" y="113407"/>
                </a:lnTo>
                <a:lnTo>
                  <a:pt x="4050394" y="113407"/>
                </a:lnTo>
                <a:lnTo>
                  <a:pt x="4038503" y="113407"/>
                </a:lnTo>
                <a:lnTo>
                  <a:pt x="4030245" y="113407"/>
                </a:lnTo>
                <a:lnTo>
                  <a:pt x="4006226" y="113407"/>
                </a:lnTo>
                <a:lnTo>
                  <a:pt x="3943371" y="113407"/>
                </a:lnTo>
                <a:lnTo>
                  <a:pt x="3875656" y="113407"/>
                </a:lnTo>
                <a:lnTo>
                  <a:pt x="3839745" y="113407"/>
                </a:lnTo>
                <a:lnTo>
                  <a:pt x="3776065" y="113407"/>
                </a:lnTo>
                <a:lnTo>
                  <a:pt x="3685156" y="113407"/>
                </a:lnTo>
                <a:lnTo>
                  <a:pt x="3659911" y="113407"/>
                </a:lnTo>
                <a:lnTo>
                  <a:pt x="3585565" y="113407"/>
                </a:lnTo>
                <a:lnTo>
                  <a:pt x="3525919" y="113407"/>
                </a:lnTo>
                <a:lnTo>
                  <a:pt x="3469411" y="113407"/>
                </a:lnTo>
                <a:lnTo>
                  <a:pt x="3372816" y="113407"/>
                </a:lnTo>
                <a:lnTo>
                  <a:pt x="3335419" y="113407"/>
                </a:lnTo>
                <a:lnTo>
                  <a:pt x="3202309" y="113407"/>
                </a:lnTo>
                <a:lnTo>
                  <a:pt x="3200246" y="113407"/>
                </a:lnTo>
                <a:lnTo>
                  <a:pt x="3187006" y="113407"/>
                </a:lnTo>
                <a:lnTo>
                  <a:pt x="3185815" y="113407"/>
                </a:lnTo>
                <a:lnTo>
                  <a:pt x="3182316" y="113407"/>
                </a:lnTo>
                <a:lnTo>
                  <a:pt x="3180210" y="113407"/>
                </a:lnTo>
                <a:cubicBezTo>
                  <a:pt x="3180210" y="113407"/>
                  <a:pt x="3180210" y="113407"/>
                  <a:pt x="3163716" y="113407"/>
                </a:cubicBezTo>
                <a:lnTo>
                  <a:pt x="3146643" y="113407"/>
                </a:lnTo>
                <a:lnTo>
                  <a:pt x="3124544" y="113407"/>
                </a:lnTo>
                <a:lnTo>
                  <a:pt x="3070360" y="113407"/>
                </a:lnTo>
                <a:lnTo>
                  <a:pt x="3048262" y="113407"/>
                </a:lnTo>
                <a:lnTo>
                  <a:pt x="3014437" y="113407"/>
                </a:lnTo>
                <a:lnTo>
                  <a:pt x="3011809" y="113407"/>
                </a:lnTo>
                <a:lnTo>
                  <a:pt x="3009746" y="113407"/>
                </a:lnTo>
                <a:lnTo>
                  <a:pt x="2996506" y="113407"/>
                </a:lnTo>
                <a:lnTo>
                  <a:pt x="2995315" y="113407"/>
                </a:lnTo>
                <a:lnTo>
                  <a:pt x="2992338" y="113407"/>
                </a:lnTo>
                <a:lnTo>
                  <a:pt x="2989710" y="113407"/>
                </a:lnTo>
                <a:lnTo>
                  <a:pt x="2987648" y="113407"/>
                </a:lnTo>
                <a:lnTo>
                  <a:pt x="2973216" y="113407"/>
                </a:lnTo>
                <a:lnTo>
                  <a:pt x="2956143" y="113407"/>
                </a:lnTo>
                <a:lnTo>
                  <a:pt x="2944597" y="113407"/>
                </a:lnTo>
                <a:lnTo>
                  <a:pt x="2934044" y="113407"/>
                </a:lnTo>
                <a:lnTo>
                  <a:pt x="2922498" y="113407"/>
                </a:lnTo>
                <a:lnTo>
                  <a:pt x="2879860" y="113407"/>
                </a:lnTo>
                <a:lnTo>
                  <a:pt x="2859294" y="113407"/>
                </a:lnTo>
                <a:lnTo>
                  <a:pt x="2857762" y="113407"/>
                </a:lnTo>
                <a:lnTo>
                  <a:pt x="2837195" y="113407"/>
                </a:lnTo>
                <a:lnTo>
                  <a:pt x="2823937" y="113407"/>
                </a:lnTo>
                <a:lnTo>
                  <a:pt x="2801838" y="113407"/>
                </a:lnTo>
                <a:lnTo>
                  <a:pt x="2756982" y="113407"/>
                </a:lnTo>
                <a:lnTo>
                  <a:pt x="2754097" y="113407"/>
                </a:lnTo>
                <a:lnTo>
                  <a:pt x="2734884" y="113407"/>
                </a:lnTo>
                <a:lnTo>
                  <a:pt x="2731998" y="113407"/>
                </a:lnTo>
                <a:lnTo>
                  <a:pt x="2668794" y="113407"/>
                </a:lnTo>
                <a:lnTo>
                  <a:pt x="2646695" y="113407"/>
                </a:lnTo>
                <a:lnTo>
                  <a:pt x="2636115" y="113407"/>
                </a:lnTo>
                <a:lnTo>
                  <a:pt x="2614017" y="113407"/>
                </a:lnTo>
                <a:lnTo>
                  <a:pt x="2566482" y="113407"/>
                </a:lnTo>
                <a:lnTo>
                  <a:pt x="2544384" y="113407"/>
                </a:lnTo>
                <a:lnTo>
                  <a:pt x="2495147" y="113407"/>
                </a:lnTo>
                <a:lnTo>
                  <a:pt x="2473049" y="113407"/>
                </a:lnTo>
                <a:lnTo>
                  <a:pt x="2445615" y="113407"/>
                </a:lnTo>
                <a:lnTo>
                  <a:pt x="2423517" y="113407"/>
                </a:lnTo>
                <a:lnTo>
                  <a:pt x="2332532" y="113407"/>
                </a:lnTo>
                <a:lnTo>
                  <a:pt x="2310433" y="113407"/>
                </a:lnTo>
                <a:lnTo>
                  <a:pt x="2304647" y="113407"/>
                </a:lnTo>
                <a:lnTo>
                  <a:pt x="2282549" y="113407"/>
                </a:lnTo>
                <a:lnTo>
                  <a:pt x="2146721" y="113407"/>
                </a:lnTo>
                <a:lnTo>
                  <a:pt x="2142032" y="113407"/>
                </a:lnTo>
                <a:lnTo>
                  <a:pt x="2139925" y="113407"/>
                </a:lnTo>
                <a:lnTo>
                  <a:pt x="2137864" y="113407"/>
                </a:lnTo>
                <a:lnTo>
                  <a:pt x="2124622" y="113407"/>
                </a:lnTo>
                <a:lnTo>
                  <a:pt x="2123432" y="113407"/>
                </a:lnTo>
                <a:lnTo>
                  <a:pt x="2119933" y="113407"/>
                </a:lnTo>
                <a:lnTo>
                  <a:pt x="2097049" y="113407"/>
                </a:lnTo>
                <a:cubicBezTo>
                  <a:pt x="2073661" y="113407"/>
                  <a:pt x="2037517" y="113407"/>
                  <a:pt x="1981658" y="113407"/>
                </a:cubicBezTo>
                <a:lnTo>
                  <a:pt x="1956221" y="113407"/>
                </a:lnTo>
                <a:lnTo>
                  <a:pt x="1949425" y="113407"/>
                </a:lnTo>
                <a:lnTo>
                  <a:pt x="1947364" y="113407"/>
                </a:lnTo>
                <a:lnTo>
                  <a:pt x="1934122" y="113407"/>
                </a:lnTo>
                <a:lnTo>
                  <a:pt x="1932932" y="113407"/>
                </a:lnTo>
                <a:lnTo>
                  <a:pt x="1906549" y="113407"/>
                </a:lnTo>
                <a:lnTo>
                  <a:pt x="1882214" y="113407"/>
                </a:lnTo>
                <a:lnTo>
                  <a:pt x="1861030" y="113407"/>
                </a:lnTo>
                <a:lnTo>
                  <a:pt x="1791158" y="113407"/>
                </a:lnTo>
                <a:lnTo>
                  <a:pt x="1747978" y="113407"/>
                </a:lnTo>
                <a:lnTo>
                  <a:pt x="1691714" y="113407"/>
                </a:lnTo>
                <a:lnTo>
                  <a:pt x="1573733" y="113407"/>
                </a:lnTo>
                <a:lnTo>
                  <a:pt x="1557478" y="113407"/>
                </a:lnTo>
                <a:lnTo>
                  <a:pt x="1383233" y="113407"/>
                </a:lnTo>
                <a:lnTo>
                  <a:pt x="1354259" y="113407"/>
                </a:lnTo>
                <a:lnTo>
                  <a:pt x="1163759" y="113407"/>
                </a:lnTo>
                <a:lnTo>
                  <a:pt x="1084338" y="113407"/>
                </a:lnTo>
                <a:lnTo>
                  <a:pt x="893838" y="113407"/>
                </a:lnTo>
                <a:cubicBezTo>
                  <a:pt x="820324" y="113407"/>
                  <a:pt x="727960" y="166215"/>
                  <a:pt x="690261" y="230339"/>
                </a:cubicBezTo>
                <a:cubicBezTo>
                  <a:pt x="690261" y="230339"/>
                  <a:pt x="690261" y="230339"/>
                  <a:pt x="162467" y="1145043"/>
                </a:cubicBezTo>
                <a:cubicBezTo>
                  <a:pt x="144559" y="1177105"/>
                  <a:pt x="135606" y="1219539"/>
                  <a:pt x="135606" y="1261974"/>
                </a:cubicBezTo>
                <a:close/>
                <a:moveTo>
                  <a:pt x="0" y="1261974"/>
                </a:moveTo>
                <a:cubicBezTo>
                  <a:pt x="0" y="1215349"/>
                  <a:pt x="9837" y="1168725"/>
                  <a:pt x="29513" y="1133497"/>
                </a:cubicBezTo>
                <a:cubicBezTo>
                  <a:pt x="609420" y="128477"/>
                  <a:pt x="609420" y="128477"/>
                  <a:pt x="609420" y="128477"/>
                </a:cubicBezTo>
                <a:cubicBezTo>
                  <a:pt x="650842" y="58022"/>
                  <a:pt x="752325" y="0"/>
                  <a:pt x="833098" y="0"/>
                </a:cubicBezTo>
                <a:cubicBezTo>
                  <a:pt x="1702959" y="0"/>
                  <a:pt x="1920424" y="0"/>
                  <a:pt x="1974790" y="0"/>
                </a:cubicBezTo>
                <a:lnTo>
                  <a:pt x="1976098" y="0"/>
                </a:lnTo>
                <a:lnTo>
                  <a:pt x="1990647" y="0"/>
                </a:lnTo>
                <a:lnTo>
                  <a:pt x="1992912" y="0"/>
                </a:lnTo>
                <a:lnTo>
                  <a:pt x="2000379" y="0"/>
                </a:lnTo>
                <a:lnTo>
                  <a:pt x="2180255" y="0"/>
                </a:lnTo>
                <a:lnTo>
                  <a:pt x="2204536" y="0"/>
                </a:lnTo>
                <a:lnTo>
                  <a:pt x="2358928" y="0"/>
                </a:lnTo>
                <a:lnTo>
                  <a:pt x="2383208" y="0"/>
                </a:lnTo>
                <a:lnTo>
                  <a:pt x="2513815" y="0"/>
                </a:lnTo>
                <a:lnTo>
                  <a:pt x="2538095" y="0"/>
                </a:lnTo>
                <a:lnTo>
                  <a:pt x="2646616" y="0"/>
                </a:lnTo>
                <a:lnTo>
                  <a:pt x="2670896" y="0"/>
                </a:lnTo>
                <a:lnTo>
                  <a:pt x="2759029" y="0"/>
                </a:lnTo>
                <a:lnTo>
                  <a:pt x="2783310" y="0"/>
                </a:lnTo>
                <a:lnTo>
                  <a:pt x="2852754" y="0"/>
                </a:lnTo>
                <a:lnTo>
                  <a:pt x="2877035" y="0"/>
                </a:lnTo>
                <a:lnTo>
                  <a:pt x="2929490" y="0"/>
                </a:lnTo>
                <a:lnTo>
                  <a:pt x="2953771" y="0"/>
                </a:lnTo>
                <a:lnTo>
                  <a:pt x="2990936" y="0"/>
                </a:lnTo>
                <a:lnTo>
                  <a:pt x="3015216" y="0"/>
                </a:lnTo>
                <a:lnTo>
                  <a:pt x="3074750" y="0"/>
                </a:lnTo>
                <a:lnTo>
                  <a:pt x="3099031" y="0"/>
                </a:lnTo>
                <a:lnTo>
                  <a:pt x="3117790" y="0"/>
                </a:lnTo>
                <a:cubicBezTo>
                  <a:pt x="3135912" y="0"/>
                  <a:pt x="3135912" y="0"/>
                  <a:pt x="3135912" y="0"/>
                </a:cubicBezTo>
                <a:lnTo>
                  <a:pt x="3142071" y="0"/>
                </a:lnTo>
                <a:lnTo>
                  <a:pt x="3143379" y="0"/>
                </a:lnTo>
                <a:lnTo>
                  <a:pt x="3157927" y="0"/>
                </a:lnTo>
                <a:lnTo>
                  <a:pt x="3160193" y="0"/>
                </a:lnTo>
                <a:lnTo>
                  <a:pt x="3347536" y="0"/>
                </a:lnTo>
                <a:cubicBezTo>
                  <a:pt x="4303193" y="0"/>
                  <a:pt x="4303193" y="0"/>
                  <a:pt x="4303193" y="0"/>
                </a:cubicBezTo>
                <a:cubicBezTo>
                  <a:pt x="4386037" y="0"/>
                  <a:pt x="4485449" y="58022"/>
                  <a:pt x="4526872" y="128477"/>
                </a:cubicBezTo>
                <a:cubicBezTo>
                  <a:pt x="5106779" y="1133497"/>
                  <a:pt x="5106779" y="1133497"/>
                  <a:pt x="5106779" y="1133497"/>
                </a:cubicBezTo>
                <a:cubicBezTo>
                  <a:pt x="5148200" y="1203952"/>
                  <a:pt x="5148200" y="1319996"/>
                  <a:pt x="5106779" y="1390451"/>
                </a:cubicBezTo>
                <a:cubicBezTo>
                  <a:pt x="4526872" y="2395471"/>
                  <a:pt x="4526872" y="2395471"/>
                  <a:pt x="4526872" y="2395471"/>
                </a:cubicBezTo>
                <a:cubicBezTo>
                  <a:pt x="4485449" y="2465926"/>
                  <a:pt x="4386037" y="2523948"/>
                  <a:pt x="4303193" y="2523948"/>
                </a:cubicBezTo>
                <a:lnTo>
                  <a:pt x="3160193" y="2523948"/>
                </a:lnTo>
                <a:lnTo>
                  <a:pt x="3143379" y="2523948"/>
                </a:lnTo>
                <a:lnTo>
                  <a:pt x="3135912" y="2523948"/>
                </a:lnTo>
                <a:lnTo>
                  <a:pt x="2000379" y="2523948"/>
                </a:lnTo>
                <a:lnTo>
                  <a:pt x="1992912" y="2523948"/>
                </a:lnTo>
                <a:lnTo>
                  <a:pt x="1976098" y="2523948"/>
                </a:lnTo>
                <a:lnTo>
                  <a:pt x="833098" y="2523948"/>
                </a:lnTo>
                <a:cubicBezTo>
                  <a:pt x="752325" y="2523948"/>
                  <a:pt x="650842" y="2465926"/>
                  <a:pt x="609420" y="2395471"/>
                </a:cubicBezTo>
                <a:cubicBezTo>
                  <a:pt x="29513" y="1390451"/>
                  <a:pt x="29513" y="1390451"/>
                  <a:pt x="29513" y="1390451"/>
                </a:cubicBezTo>
                <a:cubicBezTo>
                  <a:pt x="9837" y="1355223"/>
                  <a:pt x="0" y="1308599"/>
                  <a:pt x="0" y="1261974"/>
                </a:cubicBezTo>
                <a:close/>
              </a:path>
            </a:pathLst>
          </a:custGeom>
          <a:solidFill>
            <a:srgbClr val="02919F"/>
          </a:solidFill>
          <a:ln w="25400">
            <a:solidFill>
              <a:srgbClr val="02919F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 sz="2000">
              <a:solidFill>
                <a:prstClr val="black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7" name="任意多边形 70"/>
          <p:cNvSpPr>
            <a:spLocks/>
          </p:cNvSpPr>
          <p:nvPr/>
        </p:nvSpPr>
        <p:spPr bwMode="auto">
          <a:xfrm rot="5400000">
            <a:off x="5989313" y="4109898"/>
            <a:ext cx="2273437" cy="1760195"/>
          </a:xfrm>
          <a:custGeom>
            <a:avLst/>
            <a:gdLst>
              <a:gd name="connsiteX0" fmla="*/ 135606 w 5137844"/>
              <a:gd name="connsiteY0" fmla="*/ 1261974 h 2523948"/>
              <a:gd name="connsiteX1" fmla="*/ 162467 w 5137844"/>
              <a:gd name="connsiteY1" fmla="*/ 1378906 h 2523948"/>
              <a:gd name="connsiteX2" fmla="*/ 690261 w 5137844"/>
              <a:gd name="connsiteY2" fmla="*/ 2293610 h 2523948"/>
              <a:gd name="connsiteX3" fmla="*/ 893838 w 5137844"/>
              <a:gd name="connsiteY3" fmla="*/ 2410541 h 2523948"/>
              <a:gd name="connsiteX4" fmla="*/ 1084338 w 5137844"/>
              <a:gd name="connsiteY4" fmla="*/ 2410541 h 2523948"/>
              <a:gd name="connsiteX5" fmla="*/ 1934122 w 5137844"/>
              <a:gd name="connsiteY5" fmla="*/ 2410541 h 2523948"/>
              <a:gd name="connsiteX6" fmla="*/ 1949425 w 5137844"/>
              <a:gd name="connsiteY6" fmla="*/ 2410541 h 2523948"/>
              <a:gd name="connsiteX7" fmla="*/ 1956221 w 5137844"/>
              <a:gd name="connsiteY7" fmla="*/ 2410541 h 2523948"/>
              <a:gd name="connsiteX8" fmla="*/ 2124622 w 5137844"/>
              <a:gd name="connsiteY8" fmla="*/ 2410541 h 2523948"/>
              <a:gd name="connsiteX9" fmla="*/ 2139925 w 5137844"/>
              <a:gd name="connsiteY9" fmla="*/ 2410541 h 2523948"/>
              <a:gd name="connsiteX10" fmla="*/ 2146721 w 5137844"/>
              <a:gd name="connsiteY10" fmla="*/ 2410541 h 2523948"/>
              <a:gd name="connsiteX11" fmla="*/ 2989710 w 5137844"/>
              <a:gd name="connsiteY11" fmla="*/ 2410541 h 2523948"/>
              <a:gd name="connsiteX12" fmla="*/ 2996506 w 5137844"/>
              <a:gd name="connsiteY12" fmla="*/ 2410541 h 2523948"/>
              <a:gd name="connsiteX13" fmla="*/ 3011809 w 5137844"/>
              <a:gd name="connsiteY13" fmla="*/ 2410541 h 2523948"/>
              <a:gd name="connsiteX14" fmla="*/ 3180210 w 5137844"/>
              <a:gd name="connsiteY14" fmla="*/ 2410541 h 2523948"/>
              <a:gd name="connsiteX15" fmla="*/ 3187006 w 5137844"/>
              <a:gd name="connsiteY15" fmla="*/ 2410541 h 2523948"/>
              <a:gd name="connsiteX16" fmla="*/ 3202309 w 5137844"/>
              <a:gd name="connsiteY16" fmla="*/ 2410541 h 2523948"/>
              <a:gd name="connsiteX17" fmla="*/ 4052093 w 5137844"/>
              <a:gd name="connsiteY17" fmla="*/ 2410541 h 2523948"/>
              <a:gd name="connsiteX18" fmla="*/ 4242593 w 5137844"/>
              <a:gd name="connsiteY18" fmla="*/ 2410541 h 2523948"/>
              <a:gd name="connsiteX19" fmla="*/ 4446171 w 5137844"/>
              <a:gd name="connsiteY19" fmla="*/ 2293610 h 2523948"/>
              <a:gd name="connsiteX20" fmla="*/ 4973965 w 5137844"/>
              <a:gd name="connsiteY20" fmla="*/ 1378906 h 2523948"/>
              <a:gd name="connsiteX21" fmla="*/ 4973965 w 5137844"/>
              <a:gd name="connsiteY21" fmla="*/ 1145043 h 2523948"/>
              <a:gd name="connsiteX22" fmla="*/ 4446171 w 5137844"/>
              <a:gd name="connsiteY22" fmla="*/ 230339 h 2523948"/>
              <a:gd name="connsiteX23" fmla="*/ 4242593 w 5137844"/>
              <a:gd name="connsiteY23" fmla="*/ 113407 h 2523948"/>
              <a:gd name="connsiteX24" fmla="*/ 4133871 w 5137844"/>
              <a:gd name="connsiteY24" fmla="*/ 113407 h 2523948"/>
              <a:gd name="connsiteX25" fmla="*/ 4052093 w 5137844"/>
              <a:gd name="connsiteY25" fmla="*/ 113407 h 2523948"/>
              <a:gd name="connsiteX26" fmla="*/ 4050394 w 5137844"/>
              <a:gd name="connsiteY26" fmla="*/ 113407 h 2523948"/>
              <a:gd name="connsiteX27" fmla="*/ 4038503 w 5137844"/>
              <a:gd name="connsiteY27" fmla="*/ 113407 h 2523948"/>
              <a:gd name="connsiteX28" fmla="*/ 4030245 w 5137844"/>
              <a:gd name="connsiteY28" fmla="*/ 113407 h 2523948"/>
              <a:gd name="connsiteX29" fmla="*/ 4006226 w 5137844"/>
              <a:gd name="connsiteY29" fmla="*/ 113407 h 2523948"/>
              <a:gd name="connsiteX30" fmla="*/ 3943371 w 5137844"/>
              <a:gd name="connsiteY30" fmla="*/ 113407 h 2523948"/>
              <a:gd name="connsiteX31" fmla="*/ 3875656 w 5137844"/>
              <a:gd name="connsiteY31" fmla="*/ 113407 h 2523948"/>
              <a:gd name="connsiteX32" fmla="*/ 3839745 w 5137844"/>
              <a:gd name="connsiteY32" fmla="*/ 113407 h 2523948"/>
              <a:gd name="connsiteX33" fmla="*/ 3776065 w 5137844"/>
              <a:gd name="connsiteY33" fmla="*/ 113407 h 2523948"/>
              <a:gd name="connsiteX34" fmla="*/ 3685156 w 5137844"/>
              <a:gd name="connsiteY34" fmla="*/ 113407 h 2523948"/>
              <a:gd name="connsiteX35" fmla="*/ 3659911 w 5137844"/>
              <a:gd name="connsiteY35" fmla="*/ 113407 h 2523948"/>
              <a:gd name="connsiteX36" fmla="*/ 3585565 w 5137844"/>
              <a:gd name="connsiteY36" fmla="*/ 113407 h 2523948"/>
              <a:gd name="connsiteX37" fmla="*/ 3525919 w 5137844"/>
              <a:gd name="connsiteY37" fmla="*/ 113407 h 2523948"/>
              <a:gd name="connsiteX38" fmla="*/ 3469411 w 5137844"/>
              <a:gd name="connsiteY38" fmla="*/ 113407 h 2523948"/>
              <a:gd name="connsiteX39" fmla="*/ 3372816 w 5137844"/>
              <a:gd name="connsiteY39" fmla="*/ 113407 h 2523948"/>
              <a:gd name="connsiteX40" fmla="*/ 3335419 w 5137844"/>
              <a:gd name="connsiteY40" fmla="*/ 113407 h 2523948"/>
              <a:gd name="connsiteX41" fmla="*/ 3202309 w 5137844"/>
              <a:gd name="connsiteY41" fmla="*/ 113407 h 2523948"/>
              <a:gd name="connsiteX42" fmla="*/ 3200246 w 5137844"/>
              <a:gd name="connsiteY42" fmla="*/ 113407 h 2523948"/>
              <a:gd name="connsiteX43" fmla="*/ 3187006 w 5137844"/>
              <a:gd name="connsiteY43" fmla="*/ 113407 h 2523948"/>
              <a:gd name="connsiteX44" fmla="*/ 3185815 w 5137844"/>
              <a:gd name="connsiteY44" fmla="*/ 113407 h 2523948"/>
              <a:gd name="connsiteX45" fmla="*/ 3182316 w 5137844"/>
              <a:gd name="connsiteY45" fmla="*/ 113407 h 2523948"/>
              <a:gd name="connsiteX46" fmla="*/ 3180210 w 5137844"/>
              <a:gd name="connsiteY46" fmla="*/ 113407 h 2523948"/>
              <a:gd name="connsiteX47" fmla="*/ 3163716 w 5137844"/>
              <a:gd name="connsiteY47" fmla="*/ 113407 h 2523948"/>
              <a:gd name="connsiteX48" fmla="*/ 3146643 w 5137844"/>
              <a:gd name="connsiteY48" fmla="*/ 113407 h 2523948"/>
              <a:gd name="connsiteX49" fmla="*/ 3124544 w 5137844"/>
              <a:gd name="connsiteY49" fmla="*/ 113407 h 2523948"/>
              <a:gd name="connsiteX50" fmla="*/ 3070360 w 5137844"/>
              <a:gd name="connsiteY50" fmla="*/ 113407 h 2523948"/>
              <a:gd name="connsiteX51" fmla="*/ 3048262 w 5137844"/>
              <a:gd name="connsiteY51" fmla="*/ 113407 h 2523948"/>
              <a:gd name="connsiteX52" fmla="*/ 3014437 w 5137844"/>
              <a:gd name="connsiteY52" fmla="*/ 113407 h 2523948"/>
              <a:gd name="connsiteX53" fmla="*/ 3011809 w 5137844"/>
              <a:gd name="connsiteY53" fmla="*/ 113407 h 2523948"/>
              <a:gd name="connsiteX54" fmla="*/ 3009746 w 5137844"/>
              <a:gd name="connsiteY54" fmla="*/ 113407 h 2523948"/>
              <a:gd name="connsiteX55" fmla="*/ 2996506 w 5137844"/>
              <a:gd name="connsiteY55" fmla="*/ 113407 h 2523948"/>
              <a:gd name="connsiteX56" fmla="*/ 2995315 w 5137844"/>
              <a:gd name="connsiteY56" fmla="*/ 113407 h 2523948"/>
              <a:gd name="connsiteX57" fmla="*/ 2992338 w 5137844"/>
              <a:gd name="connsiteY57" fmla="*/ 113407 h 2523948"/>
              <a:gd name="connsiteX58" fmla="*/ 2989710 w 5137844"/>
              <a:gd name="connsiteY58" fmla="*/ 113407 h 2523948"/>
              <a:gd name="connsiteX59" fmla="*/ 2987648 w 5137844"/>
              <a:gd name="connsiteY59" fmla="*/ 113407 h 2523948"/>
              <a:gd name="connsiteX60" fmla="*/ 2973216 w 5137844"/>
              <a:gd name="connsiteY60" fmla="*/ 113407 h 2523948"/>
              <a:gd name="connsiteX61" fmla="*/ 2956143 w 5137844"/>
              <a:gd name="connsiteY61" fmla="*/ 113407 h 2523948"/>
              <a:gd name="connsiteX62" fmla="*/ 2944597 w 5137844"/>
              <a:gd name="connsiteY62" fmla="*/ 113407 h 2523948"/>
              <a:gd name="connsiteX63" fmla="*/ 2934044 w 5137844"/>
              <a:gd name="connsiteY63" fmla="*/ 113407 h 2523948"/>
              <a:gd name="connsiteX64" fmla="*/ 2922498 w 5137844"/>
              <a:gd name="connsiteY64" fmla="*/ 113407 h 2523948"/>
              <a:gd name="connsiteX65" fmla="*/ 2879860 w 5137844"/>
              <a:gd name="connsiteY65" fmla="*/ 113407 h 2523948"/>
              <a:gd name="connsiteX66" fmla="*/ 2859294 w 5137844"/>
              <a:gd name="connsiteY66" fmla="*/ 113407 h 2523948"/>
              <a:gd name="connsiteX67" fmla="*/ 2857762 w 5137844"/>
              <a:gd name="connsiteY67" fmla="*/ 113407 h 2523948"/>
              <a:gd name="connsiteX68" fmla="*/ 2837195 w 5137844"/>
              <a:gd name="connsiteY68" fmla="*/ 113407 h 2523948"/>
              <a:gd name="connsiteX69" fmla="*/ 2823937 w 5137844"/>
              <a:gd name="connsiteY69" fmla="*/ 113407 h 2523948"/>
              <a:gd name="connsiteX70" fmla="*/ 2801838 w 5137844"/>
              <a:gd name="connsiteY70" fmla="*/ 113407 h 2523948"/>
              <a:gd name="connsiteX71" fmla="*/ 2756982 w 5137844"/>
              <a:gd name="connsiteY71" fmla="*/ 113407 h 2523948"/>
              <a:gd name="connsiteX72" fmla="*/ 2754097 w 5137844"/>
              <a:gd name="connsiteY72" fmla="*/ 113407 h 2523948"/>
              <a:gd name="connsiteX73" fmla="*/ 2734884 w 5137844"/>
              <a:gd name="connsiteY73" fmla="*/ 113407 h 2523948"/>
              <a:gd name="connsiteX74" fmla="*/ 2731998 w 5137844"/>
              <a:gd name="connsiteY74" fmla="*/ 113407 h 2523948"/>
              <a:gd name="connsiteX75" fmla="*/ 2668794 w 5137844"/>
              <a:gd name="connsiteY75" fmla="*/ 113407 h 2523948"/>
              <a:gd name="connsiteX76" fmla="*/ 2646695 w 5137844"/>
              <a:gd name="connsiteY76" fmla="*/ 113407 h 2523948"/>
              <a:gd name="connsiteX77" fmla="*/ 2636115 w 5137844"/>
              <a:gd name="connsiteY77" fmla="*/ 113407 h 2523948"/>
              <a:gd name="connsiteX78" fmla="*/ 2614017 w 5137844"/>
              <a:gd name="connsiteY78" fmla="*/ 113407 h 2523948"/>
              <a:gd name="connsiteX79" fmla="*/ 2566482 w 5137844"/>
              <a:gd name="connsiteY79" fmla="*/ 113407 h 2523948"/>
              <a:gd name="connsiteX80" fmla="*/ 2544384 w 5137844"/>
              <a:gd name="connsiteY80" fmla="*/ 113407 h 2523948"/>
              <a:gd name="connsiteX81" fmla="*/ 2495147 w 5137844"/>
              <a:gd name="connsiteY81" fmla="*/ 113407 h 2523948"/>
              <a:gd name="connsiteX82" fmla="*/ 2473049 w 5137844"/>
              <a:gd name="connsiteY82" fmla="*/ 113407 h 2523948"/>
              <a:gd name="connsiteX83" fmla="*/ 2445615 w 5137844"/>
              <a:gd name="connsiteY83" fmla="*/ 113407 h 2523948"/>
              <a:gd name="connsiteX84" fmla="*/ 2423517 w 5137844"/>
              <a:gd name="connsiteY84" fmla="*/ 113407 h 2523948"/>
              <a:gd name="connsiteX85" fmla="*/ 2332532 w 5137844"/>
              <a:gd name="connsiteY85" fmla="*/ 113407 h 2523948"/>
              <a:gd name="connsiteX86" fmla="*/ 2310433 w 5137844"/>
              <a:gd name="connsiteY86" fmla="*/ 113407 h 2523948"/>
              <a:gd name="connsiteX87" fmla="*/ 2304647 w 5137844"/>
              <a:gd name="connsiteY87" fmla="*/ 113407 h 2523948"/>
              <a:gd name="connsiteX88" fmla="*/ 2282549 w 5137844"/>
              <a:gd name="connsiteY88" fmla="*/ 113407 h 2523948"/>
              <a:gd name="connsiteX89" fmla="*/ 2146721 w 5137844"/>
              <a:gd name="connsiteY89" fmla="*/ 113407 h 2523948"/>
              <a:gd name="connsiteX90" fmla="*/ 2142032 w 5137844"/>
              <a:gd name="connsiteY90" fmla="*/ 113407 h 2523948"/>
              <a:gd name="connsiteX91" fmla="*/ 2139925 w 5137844"/>
              <a:gd name="connsiteY91" fmla="*/ 113407 h 2523948"/>
              <a:gd name="connsiteX92" fmla="*/ 2137864 w 5137844"/>
              <a:gd name="connsiteY92" fmla="*/ 113407 h 2523948"/>
              <a:gd name="connsiteX93" fmla="*/ 2124622 w 5137844"/>
              <a:gd name="connsiteY93" fmla="*/ 113407 h 2523948"/>
              <a:gd name="connsiteX94" fmla="*/ 2123432 w 5137844"/>
              <a:gd name="connsiteY94" fmla="*/ 113407 h 2523948"/>
              <a:gd name="connsiteX95" fmla="*/ 2119933 w 5137844"/>
              <a:gd name="connsiteY95" fmla="*/ 113407 h 2523948"/>
              <a:gd name="connsiteX96" fmla="*/ 2097049 w 5137844"/>
              <a:gd name="connsiteY96" fmla="*/ 113407 h 2523948"/>
              <a:gd name="connsiteX97" fmla="*/ 1981658 w 5137844"/>
              <a:gd name="connsiteY97" fmla="*/ 113407 h 2523948"/>
              <a:gd name="connsiteX98" fmla="*/ 1956221 w 5137844"/>
              <a:gd name="connsiteY98" fmla="*/ 113407 h 2523948"/>
              <a:gd name="connsiteX99" fmla="*/ 1949425 w 5137844"/>
              <a:gd name="connsiteY99" fmla="*/ 113407 h 2523948"/>
              <a:gd name="connsiteX100" fmla="*/ 1947364 w 5137844"/>
              <a:gd name="connsiteY100" fmla="*/ 113407 h 2523948"/>
              <a:gd name="connsiteX101" fmla="*/ 1934122 w 5137844"/>
              <a:gd name="connsiteY101" fmla="*/ 113407 h 2523948"/>
              <a:gd name="connsiteX102" fmla="*/ 1932932 w 5137844"/>
              <a:gd name="connsiteY102" fmla="*/ 113407 h 2523948"/>
              <a:gd name="connsiteX103" fmla="*/ 1906549 w 5137844"/>
              <a:gd name="connsiteY103" fmla="*/ 113407 h 2523948"/>
              <a:gd name="connsiteX104" fmla="*/ 1882214 w 5137844"/>
              <a:gd name="connsiteY104" fmla="*/ 113407 h 2523948"/>
              <a:gd name="connsiteX105" fmla="*/ 1861030 w 5137844"/>
              <a:gd name="connsiteY105" fmla="*/ 113407 h 2523948"/>
              <a:gd name="connsiteX106" fmla="*/ 1791158 w 5137844"/>
              <a:gd name="connsiteY106" fmla="*/ 113407 h 2523948"/>
              <a:gd name="connsiteX107" fmla="*/ 1747978 w 5137844"/>
              <a:gd name="connsiteY107" fmla="*/ 113407 h 2523948"/>
              <a:gd name="connsiteX108" fmla="*/ 1691714 w 5137844"/>
              <a:gd name="connsiteY108" fmla="*/ 113407 h 2523948"/>
              <a:gd name="connsiteX109" fmla="*/ 1573733 w 5137844"/>
              <a:gd name="connsiteY109" fmla="*/ 113407 h 2523948"/>
              <a:gd name="connsiteX110" fmla="*/ 1557478 w 5137844"/>
              <a:gd name="connsiteY110" fmla="*/ 113407 h 2523948"/>
              <a:gd name="connsiteX111" fmla="*/ 1383233 w 5137844"/>
              <a:gd name="connsiteY111" fmla="*/ 113407 h 2523948"/>
              <a:gd name="connsiteX112" fmla="*/ 1354259 w 5137844"/>
              <a:gd name="connsiteY112" fmla="*/ 113407 h 2523948"/>
              <a:gd name="connsiteX113" fmla="*/ 1163759 w 5137844"/>
              <a:gd name="connsiteY113" fmla="*/ 113407 h 2523948"/>
              <a:gd name="connsiteX114" fmla="*/ 1084338 w 5137844"/>
              <a:gd name="connsiteY114" fmla="*/ 113407 h 2523948"/>
              <a:gd name="connsiteX115" fmla="*/ 893838 w 5137844"/>
              <a:gd name="connsiteY115" fmla="*/ 113407 h 2523948"/>
              <a:gd name="connsiteX116" fmla="*/ 690261 w 5137844"/>
              <a:gd name="connsiteY116" fmla="*/ 230339 h 2523948"/>
              <a:gd name="connsiteX117" fmla="*/ 162467 w 5137844"/>
              <a:gd name="connsiteY117" fmla="*/ 1145043 h 2523948"/>
              <a:gd name="connsiteX118" fmla="*/ 135606 w 5137844"/>
              <a:gd name="connsiteY118" fmla="*/ 1261974 h 2523948"/>
              <a:gd name="connsiteX119" fmla="*/ 0 w 5137844"/>
              <a:gd name="connsiteY119" fmla="*/ 1261974 h 2523948"/>
              <a:gd name="connsiteX120" fmla="*/ 29513 w 5137844"/>
              <a:gd name="connsiteY120" fmla="*/ 1133497 h 2523948"/>
              <a:gd name="connsiteX121" fmla="*/ 609420 w 5137844"/>
              <a:gd name="connsiteY121" fmla="*/ 128477 h 2523948"/>
              <a:gd name="connsiteX122" fmla="*/ 833098 w 5137844"/>
              <a:gd name="connsiteY122" fmla="*/ 0 h 2523948"/>
              <a:gd name="connsiteX123" fmla="*/ 1974790 w 5137844"/>
              <a:gd name="connsiteY123" fmla="*/ 0 h 2523948"/>
              <a:gd name="connsiteX124" fmla="*/ 1976098 w 5137844"/>
              <a:gd name="connsiteY124" fmla="*/ 0 h 2523948"/>
              <a:gd name="connsiteX125" fmla="*/ 1990647 w 5137844"/>
              <a:gd name="connsiteY125" fmla="*/ 0 h 2523948"/>
              <a:gd name="connsiteX126" fmla="*/ 1992912 w 5137844"/>
              <a:gd name="connsiteY126" fmla="*/ 0 h 2523948"/>
              <a:gd name="connsiteX127" fmla="*/ 2000379 w 5137844"/>
              <a:gd name="connsiteY127" fmla="*/ 0 h 2523948"/>
              <a:gd name="connsiteX128" fmla="*/ 2180255 w 5137844"/>
              <a:gd name="connsiteY128" fmla="*/ 0 h 2523948"/>
              <a:gd name="connsiteX129" fmla="*/ 2204536 w 5137844"/>
              <a:gd name="connsiteY129" fmla="*/ 0 h 2523948"/>
              <a:gd name="connsiteX130" fmla="*/ 2358928 w 5137844"/>
              <a:gd name="connsiteY130" fmla="*/ 0 h 2523948"/>
              <a:gd name="connsiteX131" fmla="*/ 2383208 w 5137844"/>
              <a:gd name="connsiteY131" fmla="*/ 0 h 2523948"/>
              <a:gd name="connsiteX132" fmla="*/ 2513815 w 5137844"/>
              <a:gd name="connsiteY132" fmla="*/ 0 h 2523948"/>
              <a:gd name="connsiteX133" fmla="*/ 2538095 w 5137844"/>
              <a:gd name="connsiteY133" fmla="*/ 0 h 2523948"/>
              <a:gd name="connsiteX134" fmla="*/ 2646616 w 5137844"/>
              <a:gd name="connsiteY134" fmla="*/ 0 h 2523948"/>
              <a:gd name="connsiteX135" fmla="*/ 2670896 w 5137844"/>
              <a:gd name="connsiteY135" fmla="*/ 0 h 2523948"/>
              <a:gd name="connsiteX136" fmla="*/ 2759029 w 5137844"/>
              <a:gd name="connsiteY136" fmla="*/ 0 h 2523948"/>
              <a:gd name="connsiteX137" fmla="*/ 2783310 w 5137844"/>
              <a:gd name="connsiteY137" fmla="*/ 0 h 2523948"/>
              <a:gd name="connsiteX138" fmla="*/ 2852754 w 5137844"/>
              <a:gd name="connsiteY138" fmla="*/ 0 h 2523948"/>
              <a:gd name="connsiteX139" fmla="*/ 2877035 w 5137844"/>
              <a:gd name="connsiteY139" fmla="*/ 0 h 2523948"/>
              <a:gd name="connsiteX140" fmla="*/ 2929490 w 5137844"/>
              <a:gd name="connsiteY140" fmla="*/ 0 h 2523948"/>
              <a:gd name="connsiteX141" fmla="*/ 2953771 w 5137844"/>
              <a:gd name="connsiteY141" fmla="*/ 0 h 2523948"/>
              <a:gd name="connsiteX142" fmla="*/ 2990936 w 5137844"/>
              <a:gd name="connsiteY142" fmla="*/ 0 h 2523948"/>
              <a:gd name="connsiteX143" fmla="*/ 3015216 w 5137844"/>
              <a:gd name="connsiteY143" fmla="*/ 0 h 2523948"/>
              <a:gd name="connsiteX144" fmla="*/ 3074750 w 5137844"/>
              <a:gd name="connsiteY144" fmla="*/ 0 h 2523948"/>
              <a:gd name="connsiteX145" fmla="*/ 3099031 w 5137844"/>
              <a:gd name="connsiteY145" fmla="*/ 0 h 2523948"/>
              <a:gd name="connsiteX146" fmla="*/ 3117790 w 5137844"/>
              <a:gd name="connsiteY146" fmla="*/ 0 h 2523948"/>
              <a:gd name="connsiteX147" fmla="*/ 3135912 w 5137844"/>
              <a:gd name="connsiteY147" fmla="*/ 0 h 2523948"/>
              <a:gd name="connsiteX148" fmla="*/ 3142071 w 5137844"/>
              <a:gd name="connsiteY148" fmla="*/ 0 h 2523948"/>
              <a:gd name="connsiteX149" fmla="*/ 3143379 w 5137844"/>
              <a:gd name="connsiteY149" fmla="*/ 0 h 2523948"/>
              <a:gd name="connsiteX150" fmla="*/ 3157927 w 5137844"/>
              <a:gd name="connsiteY150" fmla="*/ 0 h 2523948"/>
              <a:gd name="connsiteX151" fmla="*/ 3160193 w 5137844"/>
              <a:gd name="connsiteY151" fmla="*/ 0 h 2523948"/>
              <a:gd name="connsiteX152" fmla="*/ 3347536 w 5137844"/>
              <a:gd name="connsiteY152" fmla="*/ 0 h 2523948"/>
              <a:gd name="connsiteX153" fmla="*/ 4303193 w 5137844"/>
              <a:gd name="connsiteY153" fmla="*/ 0 h 2523948"/>
              <a:gd name="connsiteX154" fmla="*/ 4526872 w 5137844"/>
              <a:gd name="connsiteY154" fmla="*/ 128477 h 2523948"/>
              <a:gd name="connsiteX155" fmla="*/ 5106779 w 5137844"/>
              <a:gd name="connsiteY155" fmla="*/ 1133497 h 2523948"/>
              <a:gd name="connsiteX156" fmla="*/ 5106779 w 5137844"/>
              <a:gd name="connsiteY156" fmla="*/ 1390451 h 2523948"/>
              <a:gd name="connsiteX157" fmla="*/ 4526872 w 5137844"/>
              <a:gd name="connsiteY157" fmla="*/ 2395471 h 2523948"/>
              <a:gd name="connsiteX158" fmla="*/ 4303193 w 5137844"/>
              <a:gd name="connsiteY158" fmla="*/ 2523948 h 2523948"/>
              <a:gd name="connsiteX159" fmla="*/ 3160193 w 5137844"/>
              <a:gd name="connsiteY159" fmla="*/ 2523948 h 2523948"/>
              <a:gd name="connsiteX160" fmla="*/ 3143379 w 5137844"/>
              <a:gd name="connsiteY160" fmla="*/ 2523948 h 2523948"/>
              <a:gd name="connsiteX161" fmla="*/ 3135912 w 5137844"/>
              <a:gd name="connsiteY161" fmla="*/ 2523948 h 2523948"/>
              <a:gd name="connsiteX162" fmla="*/ 2000379 w 5137844"/>
              <a:gd name="connsiteY162" fmla="*/ 2523948 h 2523948"/>
              <a:gd name="connsiteX163" fmla="*/ 1992912 w 5137844"/>
              <a:gd name="connsiteY163" fmla="*/ 2523948 h 2523948"/>
              <a:gd name="connsiteX164" fmla="*/ 1976098 w 5137844"/>
              <a:gd name="connsiteY164" fmla="*/ 2523948 h 2523948"/>
              <a:gd name="connsiteX165" fmla="*/ 833098 w 5137844"/>
              <a:gd name="connsiteY165" fmla="*/ 2523948 h 2523948"/>
              <a:gd name="connsiteX166" fmla="*/ 609420 w 5137844"/>
              <a:gd name="connsiteY166" fmla="*/ 2395471 h 2523948"/>
              <a:gd name="connsiteX167" fmla="*/ 29513 w 5137844"/>
              <a:gd name="connsiteY167" fmla="*/ 1390451 h 2523948"/>
              <a:gd name="connsiteX168" fmla="*/ 0 w 5137844"/>
              <a:gd name="connsiteY168" fmla="*/ 1261974 h 2523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5137844" h="2523948">
                <a:moveTo>
                  <a:pt x="135606" y="1261974"/>
                </a:moveTo>
                <a:cubicBezTo>
                  <a:pt x="135606" y="1304409"/>
                  <a:pt x="144559" y="1346843"/>
                  <a:pt x="162467" y="1378906"/>
                </a:cubicBezTo>
                <a:cubicBezTo>
                  <a:pt x="162467" y="1378906"/>
                  <a:pt x="162467" y="1378906"/>
                  <a:pt x="690261" y="2293610"/>
                </a:cubicBezTo>
                <a:cubicBezTo>
                  <a:pt x="727960" y="2357733"/>
                  <a:pt x="820324" y="2410541"/>
                  <a:pt x="893838" y="2410541"/>
                </a:cubicBezTo>
                <a:lnTo>
                  <a:pt x="1084338" y="2410541"/>
                </a:lnTo>
                <a:lnTo>
                  <a:pt x="1934122" y="2410541"/>
                </a:lnTo>
                <a:lnTo>
                  <a:pt x="1949425" y="2410541"/>
                </a:lnTo>
                <a:lnTo>
                  <a:pt x="1956221" y="2410541"/>
                </a:lnTo>
                <a:lnTo>
                  <a:pt x="2124622" y="2410541"/>
                </a:lnTo>
                <a:lnTo>
                  <a:pt x="2139925" y="2410541"/>
                </a:lnTo>
                <a:lnTo>
                  <a:pt x="2146721" y="2410541"/>
                </a:lnTo>
                <a:lnTo>
                  <a:pt x="2989710" y="2410541"/>
                </a:lnTo>
                <a:lnTo>
                  <a:pt x="2996506" y="2410541"/>
                </a:lnTo>
                <a:lnTo>
                  <a:pt x="3011809" y="2410541"/>
                </a:lnTo>
                <a:lnTo>
                  <a:pt x="3180210" y="2410541"/>
                </a:lnTo>
                <a:lnTo>
                  <a:pt x="3187006" y="2410541"/>
                </a:lnTo>
                <a:lnTo>
                  <a:pt x="3202309" y="2410541"/>
                </a:lnTo>
                <a:lnTo>
                  <a:pt x="4052093" y="2410541"/>
                </a:lnTo>
                <a:lnTo>
                  <a:pt x="4242593" y="2410541"/>
                </a:lnTo>
                <a:cubicBezTo>
                  <a:pt x="4317992" y="2410541"/>
                  <a:pt x="4408471" y="2357733"/>
                  <a:pt x="4446171" y="2293610"/>
                </a:cubicBezTo>
                <a:cubicBezTo>
                  <a:pt x="4446171" y="2293610"/>
                  <a:pt x="4446171" y="2293610"/>
                  <a:pt x="4973965" y="1378906"/>
                </a:cubicBezTo>
                <a:cubicBezTo>
                  <a:pt x="5011664" y="1314782"/>
                  <a:pt x="5011664" y="1209166"/>
                  <a:pt x="4973965" y="1145043"/>
                </a:cubicBezTo>
                <a:cubicBezTo>
                  <a:pt x="4973965" y="1145043"/>
                  <a:pt x="4973965" y="1145043"/>
                  <a:pt x="4446171" y="230339"/>
                </a:cubicBezTo>
                <a:cubicBezTo>
                  <a:pt x="4408471" y="166215"/>
                  <a:pt x="4317992" y="113407"/>
                  <a:pt x="4242593" y="113407"/>
                </a:cubicBezTo>
                <a:cubicBezTo>
                  <a:pt x="4242593" y="113407"/>
                  <a:pt x="4242593" y="113407"/>
                  <a:pt x="4133871" y="113407"/>
                </a:cubicBezTo>
                <a:lnTo>
                  <a:pt x="4052093" y="113407"/>
                </a:lnTo>
                <a:lnTo>
                  <a:pt x="4050394" y="113407"/>
                </a:lnTo>
                <a:lnTo>
                  <a:pt x="4038503" y="113407"/>
                </a:lnTo>
                <a:lnTo>
                  <a:pt x="4030245" y="113407"/>
                </a:lnTo>
                <a:lnTo>
                  <a:pt x="4006226" y="113407"/>
                </a:lnTo>
                <a:lnTo>
                  <a:pt x="3943371" y="113407"/>
                </a:lnTo>
                <a:lnTo>
                  <a:pt x="3875656" y="113407"/>
                </a:lnTo>
                <a:lnTo>
                  <a:pt x="3839745" y="113407"/>
                </a:lnTo>
                <a:lnTo>
                  <a:pt x="3776065" y="113407"/>
                </a:lnTo>
                <a:lnTo>
                  <a:pt x="3685156" y="113407"/>
                </a:lnTo>
                <a:lnTo>
                  <a:pt x="3659911" y="113407"/>
                </a:lnTo>
                <a:lnTo>
                  <a:pt x="3585565" y="113407"/>
                </a:lnTo>
                <a:lnTo>
                  <a:pt x="3525919" y="113407"/>
                </a:lnTo>
                <a:lnTo>
                  <a:pt x="3469411" y="113407"/>
                </a:lnTo>
                <a:lnTo>
                  <a:pt x="3372816" y="113407"/>
                </a:lnTo>
                <a:lnTo>
                  <a:pt x="3335419" y="113407"/>
                </a:lnTo>
                <a:lnTo>
                  <a:pt x="3202309" y="113407"/>
                </a:lnTo>
                <a:lnTo>
                  <a:pt x="3200246" y="113407"/>
                </a:lnTo>
                <a:lnTo>
                  <a:pt x="3187006" y="113407"/>
                </a:lnTo>
                <a:lnTo>
                  <a:pt x="3185815" y="113407"/>
                </a:lnTo>
                <a:lnTo>
                  <a:pt x="3182316" y="113407"/>
                </a:lnTo>
                <a:lnTo>
                  <a:pt x="3180210" y="113407"/>
                </a:lnTo>
                <a:cubicBezTo>
                  <a:pt x="3180210" y="113407"/>
                  <a:pt x="3180210" y="113407"/>
                  <a:pt x="3163716" y="113407"/>
                </a:cubicBezTo>
                <a:lnTo>
                  <a:pt x="3146643" y="113407"/>
                </a:lnTo>
                <a:lnTo>
                  <a:pt x="3124544" y="113407"/>
                </a:lnTo>
                <a:lnTo>
                  <a:pt x="3070360" y="113407"/>
                </a:lnTo>
                <a:lnTo>
                  <a:pt x="3048262" y="113407"/>
                </a:lnTo>
                <a:lnTo>
                  <a:pt x="3014437" y="113407"/>
                </a:lnTo>
                <a:lnTo>
                  <a:pt x="3011809" y="113407"/>
                </a:lnTo>
                <a:lnTo>
                  <a:pt x="3009746" y="113407"/>
                </a:lnTo>
                <a:lnTo>
                  <a:pt x="2996506" y="113407"/>
                </a:lnTo>
                <a:lnTo>
                  <a:pt x="2995315" y="113407"/>
                </a:lnTo>
                <a:lnTo>
                  <a:pt x="2992338" y="113407"/>
                </a:lnTo>
                <a:lnTo>
                  <a:pt x="2989710" y="113407"/>
                </a:lnTo>
                <a:lnTo>
                  <a:pt x="2987648" y="113407"/>
                </a:lnTo>
                <a:lnTo>
                  <a:pt x="2973216" y="113407"/>
                </a:lnTo>
                <a:lnTo>
                  <a:pt x="2956143" y="113407"/>
                </a:lnTo>
                <a:lnTo>
                  <a:pt x="2944597" y="113407"/>
                </a:lnTo>
                <a:lnTo>
                  <a:pt x="2934044" y="113407"/>
                </a:lnTo>
                <a:lnTo>
                  <a:pt x="2922498" y="113407"/>
                </a:lnTo>
                <a:lnTo>
                  <a:pt x="2879860" y="113407"/>
                </a:lnTo>
                <a:lnTo>
                  <a:pt x="2859294" y="113407"/>
                </a:lnTo>
                <a:lnTo>
                  <a:pt x="2857762" y="113407"/>
                </a:lnTo>
                <a:lnTo>
                  <a:pt x="2837195" y="113407"/>
                </a:lnTo>
                <a:lnTo>
                  <a:pt x="2823937" y="113407"/>
                </a:lnTo>
                <a:lnTo>
                  <a:pt x="2801838" y="113407"/>
                </a:lnTo>
                <a:lnTo>
                  <a:pt x="2756982" y="113407"/>
                </a:lnTo>
                <a:lnTo>
                  <a:pt x="2754097" y="113407"/>
                </a:lnTo>
                <a:lnTo>
                  <a:pt x="2734884" y="113407"/>
                </a:lnTo>
                <a:lnTo>
                  <a:pt x="2731998" y="113407"/>
                </a:lnTo>
                <a:lnTo>
                  <a:pt x="2668794" y="113407"/>
                </a:lnTo>
                <a:lnTo>
                  <a:pt x="2646695" y="113407"/>
                </a:lnTo>
                <a:lnTo>
                  <a:pt x="2636115" y="113407"/>
                </a:lnTo>
                <a:lnTo>
                  <a:pt x="2614017" y="113407"/>
                </a:lnTo>
                <a:lnTo>
                  <a:pt x="2566482" y="113407"/>
                </a:lnTo>
                <a:lnTo>
                  <a:pt x="2544384" y="113407"/>
                </a:lnTo>
                <a:lnTo>
                  <a:pt x="2495147" y="113407"/>
                </a:lnTo>
                <a:lnTo>
                  <a:pt x="2473049" y="113407"/>
                </a:lnTo>
                <a:lnTo>
                  <a:pt x="2445615" y="113407"/>
                </a:lnTo>
                <a:lnTo>
                  <a:pt x="2423517" y="113407"/>
                </a:lnTo>
                <a:lnTo>
                  <a:pt x="2332532" y="113407"/>
                </a:lnTo>
                <a:lnTo>
                  <a:pt x="2310433" y="113407"/>
                </a:lnTo>
                <a:lnTo>
                  <a:pt x="2304647" y="113407"/>
                </a:lnTo>
                <a:lnTo>
                  <a:pt x="2282549" y="113407"/>
                </a:lnTo>
                <a:lnTo>
                  <a:pt x="2146721" y="113407"/>
                </a:lnTo>
                <a:lnTo>
                  <a:pt x="2142032" y="113407"/>
                </a:lnTo>
                <a:lnTo>
                  <a:pt x="2139925" y="113407"/>
                </a:lnTo>
                <a:lnTo>
                  <a:pt x="2137864" y="113407"/>
                </a:lnTo>
                <a:lnTo>
                  <a:pt x="2124622" y="113407"/>
                </a:lnTo>
                <a:lnTo>
                  <a:pt x="2123432" y="113407"/>
                </a:lnTo>
                <a:lnTo>
                  <a:pt x="2119933" y="113407"/>
                </a:lnTo>
                <a:lnTo>
                  <a:pt x="2097049" y="113407"/>
                </a:lnTo>
                <a:cubicBezTo>
                  <a:pt x="2073661" y="113407"/>
                  <a:pt x="2037517" y="113407"/>
                  <a:pt x="1981658" y="113407"/>
                </a:cubicBezTo>
                <a:lnTo>
                  <a:pt x="1956221" y="113407"/>
                </a:lnTo>
                <a:lnTo>
                  <a:pt x="1949425" y="113407"/>
                </a:lnTo>
                <a:lnTo>
                  <a:pt x="1947364" y="113407"/>
                </a:lnTo>
                <a:lnTo>
                  <a:pt x="1934122" y="113407"/>
                </a:lnTo>
                <a:lnTo>
                  <a:pt x="1932932" y="113407"/>
                </a:lnTo>
                <a:lnTo>
                  <a:pt x="1906549" y="113407"/>
                </a:lnTo>
                <a:lnTo>
                  <a:pt x="1882214" y="113407"/>
                </a:lnTo>
                <a:lnTo>
                  <a:pt x="1861030" y="113407"/>
                </a:lnTo>
                <a:lnTo>
                  <a:pt x="1791158" y="113407"/>
                </a:lnTo>
                <a:lnTo>
                  <a:pt x="1747978" y="113407"/>
                </a:lnTo>
                <a:lnTo>
                  <a:pt x="1691714" y="113407"/>
                </a:lnTo>
                <a:lnTo>
                  <a:pt x="1573733" y="113407"/>
                </a:lnTo>
                <a:lnTo>
                  <a:pt x="1557478" y="113407"/>
                </a:lnTo>
                <a:lnTo>
                  <a:pt x="1383233" y="113407"/>
                </a:lnTo>
                <a:lnTo>
                  <a:pt x="1354259" y="113407"/>
                </a:lnTo>
                <a:lnTo>
                  <a:pt x="1163759" y="113407"/>
                </a:lnTo>
                <a:lnTo>
                  <a:pt x="1084338" y="113407"/>
                </a:lnTo>
                <a:lnTo>
                  <a:pt x="893838" y="113407"/>
                </a:lnTo>
                <a:cubicBezTo>
                  <a:pt x="820324" y="113407"/>
                  <a:pt x="727960" y="166215"/>
                  <a:pt x="690261" y="230339"/>
                </a:cubicBezTo>
                <a:cubicBezTo>
                  <a:pt x="690261" y="230339"/>
                  <a:pt x="690261" y="230339"/>
                  <a:pt x="162467" y="1145043"/>
                </a:cubicBezTo>
                <a:cubicBezTo>
                  <a:pt x="144559" y="1177105"/>
                  <a:pt x="135606" y="1219539"/>
                  <a:pt x="135606" y="1261974"/>
                </a:cubicBezTo>
                <a:close/>
                <a:moveTo>
                  <a:pt x="0" y="1261974"/>
                </a:moveTo>
                <a:cubicBezTo>
                  <a:pt x="0" y="1215349"/>
                  <a:pt x="9837" y="1168725"/>
                  <a:pt x="29513" y="1133497"/>
                </a:cubicBezTo>
                <a:cubicBezTo>
                  <a:pt x="609420" y="128477"/>
                  <a:pt x="609420" y="128477"/>
                  <a:pt x="609420" y="128477"/>
                </a:cubicBezTo>
                <a:cubicBezTo>
                  <a:pt x="650842" y="58022"/>
                  <a:pt x="752325" y="0"/>
                  <a:pt x="833098" y="0"/>
                </a:cubicBezTo>
                <a:cubicBezTo>
                  <a:pt x="1702959" y="0"/>
                  <a:pt x="1920424" y="0"/>
                  <a:pt x="1974790" y="0"/>
                </a:cubicBezTo>
                <a:lnTo>
                  <a:pt x="1976098" y="0"/>
                </a:lnTo>
                <a:lnTo>
                  <a:pt x="1990647" y="0"/>
                </a:lnTo>
                <a:lnTo>
                  <a:pt x="1992912" y="0"/>
                </a:lnTo>
                <a:lnTo>
                  <a:pt x="2000379" y="0"/>
                </a:lnTo>
                <a:lnTo>
                  <a:pt x="2180255" y="0"/>
                </a:lnTo>
                <a:lnTo>
                  <a:pt x="2204536" y="0"/>
                </a:lnTo>
                <a:lnTo>
                  <a:pt x="2358928" y="0"/>
                </a:lnTo>
                <a:lnTo>
                  <a:pt x="2383208" y="0"/>
                </a:lnTo>
                <a:lnTo>
                  <a:pt x="2513815" y="0"/>
                </a:lnTo>
                <a:lnTo>
                  <a:pt x="2538095" y="0"/>
                </a:lnTo>
                <a:lnTo>
                  <a:pt x="2646616" y="0"/>
                </a:lnTo>
                <a:lnTo>
                  <a:pt x="2670896" y="0"/>
                </a:lnTo>
                <a:lnTo>
                  <a:pt x="2759029" y="0"/>
                </a:lnTo>
                <a:lnTo>
                  <a:pt x="2783310" y="0"/>
                </a:lnTo>
                <a:lnTo>
                  <a:pt x="2852754" y="0"/>
                </a:lnTo>
                <a:lnTo>
                  <a:pt x="2877035" y="0"/>
                </a:lnTo>
                <a:lnTo>
                  <a:pt x="2929490" y="0"/>
                </a:lnTo>
                <a:lnTo>
                  <a:pt x="2953771" y="0"/>
                </a:lnTo>
                <a:lnTo>
                  <a:pt x="2990936" y="0"/>
                </a:lnTo>
                <a:lnTo>
                  <a:pt x="3015216" y="0"/>
                </a:lnTo>
                <a:lnTo>
                  <a:pt x="3074750" y="0"/>
                </a:lnTo>
                <a:lnTo>
                  <a:pt x="3099031" y="0"/>
                </a:lnTo>
                <a:lnTo>
                  <a:pt x="3117790" y="0"/>
                </a:lnTo>
                <a:cubicBezTo>
                  <a:pt x="3135912" y="0"/>
                  <a:pt x="3135912" y="0"/>
                  <a:pt x="3135912" y="0"/>
                </a:cubicBezTo>
                <a:lnTo>
                  <a:pt x="3142071" y="0"/>
                </a:lnTo>
                <a:lnTo>
                  <a:pt x="3143379" y="0"/>
                </a:lnTo>
                <a:lnTo>
                  <a:pt x="3157927" y="0"/>
                </a:lnTo>
                <a:lnTo>
                  <a:pt x="3160193" y="0"/>
                </a:lnTo>
                <a:lnTo>
                  <a:pt x="3347536" y="0"/>
                </a:lnTo>
                <a:cubicBezTo>
                  <a:pt x="4303193" y="0"/>
                  <a:pt x="4303193" y="0"/>
                  <a:pt x="4303193" y="0"/>
                </a:cubicBezTo>
                <a:cubicBezTo>
                  <a:pt x="4386037" y="0"/>
                  <a:pt x="4485449" y="58022"/>
                  <a:pt x="4526872" y="128477"/>
                </a:cubicBezTo>
                <a:cubicBezTo>
                  <a:pt x="5106779" y="1133497"/>
                  <a:pt x="5106779" y="1133497"/>
                  <a:pt x="5106779" y="1133497"/>
                </a:cubicBezTo>
                <a:cubicBezTo>
                  <a:pt x="5148200" y="1203952"/>
                  <a:pt x="5148200" y="1319996"/>
                  <a:pt x="5106779" y="1390451"/>
                </a:cubicBezTo>
                <a:cubicBezTo>
                  <a:pt x="4526872" y="2395471"/>
                  <a:pt x="4526872" y="2395471"/>
                  <a:pt x="4526872" y="2395471"/>
                </a:cubicBezTo>
                <a:cubicBezTo>
                  <a:pt x="4485449" y="2465926"/>
                  <a:pt x="4386037" y="2523948"/>
                  <a:pt x="4303193" y="2523948"/>
                </a:cubicBezTo>
                <a:lnTo>
                  <a:pt x="3160193" y="2523948"/>
                </a:lnTo>
                <a:lnTo>
                  <a:pt x="3143379" y="2523948"/>
                </a:lnTo>
                <a:lnTo>
                  <a:pt x="3135912" y="2523948"/>
                </a:lnTo>
                <a:lnTo>
                  <a:pt x="2000379" y="2523948"/>
                </a:lnTo>
                <a:lnTo>
                  <a:pt x="1992912" y="2523948"/>
                </a:lnTo>
                <a:lnTo>
                  <a:pt x="1976098" y="2523948"/>
                </a:lnTo>
                <a:lnTo>
                  <a:pt x="833098" y="2523948"/>
                </a:lnTo>
                <a:cubicBezTo>
                  <a:pt x="752325" y="2523948"/>
                  <a:pt x="650842" y="2465926"/>
                  <a:pt x="609420" y="2395471"/>
                </a:cubicBezTo>
                <a:cubicBezTo>
                  <a:pt x="29513" y="1390451"/>
                  <a:pt x="29513" y="1390451"/>
                  <a:pt x="29513" y="1390451"/>
                </a:cubicBezTo>
                <a:cubicBezTo>
                  <a:pt x="9837" y="1355223"/>
                  <a:pt x="0" y="1308599"/>
                  <a:pt x="0" y="1261974"/>
                </a:cubicBezTo>
                <a:close/>
              </a:path>
            </a:pathLst>
          </a:custGeom>
          <a:solidFill>
            <a:srgbClr val="02919F"/>
          </a:solidFill>
          <a:ln w="25400">
            <a:solidFill>
              <a:srgbClr val="02919F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 sz="2000">
              <a:solidFill>
                <a:prstClr val="black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7" name="任意多边形 70"/>
          <p:cNvSpPr>
            <a:spLocks/>
          </p:cNvSpPr>
          <p:nvPr/>
        </p:nvSpPr>
        <p:spPr bwMode="auto">
          <a:xfrm rot="5400000">
            <a:off x="7964355" y="4109898"/>
            <a:ext cx="2273437" cy="1760195"/>
          </a:xfrm>
          <a:custGeom>
            <a:avLst/>
            <a:gdLst>
              <a:gd name="connsiteX0" fmla="*/ 135606 w 5137844"/>
              <a:gd name="connsiteY0" fmla="*/ 1261974 h 2523948"/>
              <a:gd name="connsiteX1" fmla="*/ 162467 w 5137844"/>
              <a:gd name="connsiteY1" fmla="*/ 1378906 h 2523948"/>
              <a:gd name="connsiteX2" fmla="*/ 690261 w 5137844"/>
              <a:gd name="connsiteY2" fmla="*/ 2293610 h 2523948"/>
              <a:gd name="connsiteX3" fmla="*/ 893838 w 5137844"/>
              <a:gd name="connsiteY3" fmla="*/ 2410541 h 2523948"/>
              <a:gd name="connsiteX4" fmla="*/ 1084338 w 5137844"/>
              <a:gd name="connsiteY4" fmla="*/ 2410541 h 2523948"/>
              <a:gd name="connsiteX5" fmla="*/ 1934122 w 5137844"/>
              <a:gd name="connsiteY5" fmla="*/ 2410541 h 2523948"/>
              <a:gd name="connsiteX6" fmla="*/ 1949425 w 5137844"/>
              <a:gd name="connsiteY6" fmla="*/ 2410541 h 2523948"/>
              <a:gd name="connsiteX7" fmla="*/ 1956221 w 5137844"/>
              <a:gd name="connsiteY7" fmla="*/ 2410541 h 2523948"/>
              <a:gd name="connsiteX8" fmla="*/ 2124622 w 5137844"/>
              <a:gd name="connsiteY8" fmla="*/ 2410541 h 2523948"/>
              <a:gd name="connsiteX9" fmla="*/ 2139925 w 5137844"/>
              <a:gd name="connsiteY9" fmla="*/ 2410541 h 2523948"/>
              <a:gd name="connsiteX10" fmla="*/ 2146721 w 5137844"/>
              <a:gd name="connsiteY10" fmla="*/ 2410541 h 2523948"/>
              <a:gd name="connsiteX11" fmla="*/ 2989710 w 5137844"/>
              <a:gd name="connsiteY11" fmla="*/ 2410541 h 2523948"/>
              <a:gd name="connsiteX12" fmla="*/ 2996506 w 5137844"/>
              <a:gd name="connsiteY12" fmla="*/ 2410541 h 2523948"/>
              <a:gd name="connsiteX13" fmla="*/ 3011809 w 5137844"/>
              <a:gd name="connsiteY13" fmla="*/ 2410541 h 2523948"/>
              <a:gd name="connsiteX14" fmla="*/ 3180210 w 5137844"/>
              <a:gd name="connsiteY14" fmla="*/ 2410541 h 2523948"/>
              <a:gd name="connsiteX15" fmla="*/ 3187006 w 5137844"/>
              <a:gd name="connsiteY15" fmla="*/ 2410541 h 2523948"/>
              <a:gd name="connsiteX16" fmla="*/ 3202309 w 5137844"/>
              <a:gd name="connsiteY16" fmla="*/ 2410541 h 2523948"/>
              <a:gd name="connsiteX17" fmla="*/ 4052093 w 5137844"/>
              <a:gd name="connsiteY17" fmla="*/ 2410541 h 2523948"/>
              <a:gd name="connsiteX18" fmla="*/ 4242593 w 5137844"/>
              <a:gd name="connsiteY18" fmla="*/ 2410541 h 2523948"/>
              <a:gd name="connsiteX19" fmla="*/ 4446171 w 5137844"/>
              <a:gd name="connsiteY19" fmla="*/ 2293610 h 2523948"/>
              <a:gd name="connsiteX20" fmla="*/ 4973965 w 5137844"/>
              <a:gd name="connsiteY20" fmla="*/ 1378906 h 2523948"/>
              <a:gd name="connsiteX21" fmla="*/ 4973965 w 5137844"/>
              <a:gd name="connsiteY21" fmla="*/ 1145043 h 2523948"/>
              <a:gd name="connsiteX22" fmla="*/ 4446171 w 5137844"/>
              <a:gd name="connsiteY22" fmla="*/ 230339 h 2523948"/>
              <a:gd name="connsiteX23" fmla="*/ 4242593 w 5137844"/>
              <a:gd name="connsiteY23" fmla="*/ 113407 h 2523948"/>
              <a:gd name="connsiteX24" fmla="*/ 4133871 w 5137844"/>
              <a:gd name="connsiteY24" fmla="*/ 113407 h 2523948"/>
              <a:gd name="connsiteX25" fmla="*/ 4052093 w 5137844"/>
              <a:gd name="connsiteY25" fmla="*/ 113407 h 2523948"/>
              <a:gd name="connsiteX26" fmla="*/ 4050394 w 5137844"/>
              <a:gd name="connsiteY26" fmla="*/ 113407 h 2523948"/>
              <a:gd name="connsiteX27" fmla="*/ 4038503 w 5137844"/>
              <a:gd name="connsiteY27" fmla="*/ 113407 h 2523948"/>
              <a:gd name="connsiteX28" fmla="*/ 4030245 w 5137844"/>
              <a:gd name="connsiteY28" fmla="*/ 113407 h 2523948"/>
              <a:gd name="connsiteX29" fmla="*/ 4006226 w 5137844"/>
              <a:gd name="connsiteY29" fmla="*/ 113407 h 2523948"/>
              <a:gd name="connsiteX30" fmla="*/ 3943371 w 5137844"/>
              <a:gd name="connsiteY30" fmla="*/ 113407 h 2523948"/>
              <a:gd name="connsiteX31" fmla="*/ 3875656 w 5137844"/>
              <a:gd name="connsiteY31" fmla="*/ 113407 h 2523948"/>
              <a:gd name="connsiteX32" fmla="*/ 3839745 w 5137844"/>
              <a:gd name="connsiteY32" fmla="*/ 113407 h 2523948"/>
              <a:gd name="connsiteX33" fmla="*/ 3776065 w 5137844"/>
              <a:gd name="connsiteY33" fmla="*/ 113407 h 2523948"/>
              <a:gd name="connsiteX34" fmla="*/ 3685156 w 5137844"/>
              <a:gd name="connsiteY34" fmla="*/ 113407 h 2523948"/>
              <a:gd name="connsiteX35" fmla="*/ 3659911 w 5137844"/>
              <a:gd name="connsiteY35" fmla="*/ 113407 h 2523948"/>
              <a:gd name="connsiteX36" fmla="*/ 3585565 w 5137844"/>
              <a:gd name="connsiteY36" fmla="*/ 113407 h 2523948"/>
              <a:gd name="connsiteX37" fmla="*/ 3525919 w 5137844"/>
              <a:gd name="connsiteY37" fmla="*/ 113407 h 2523948"/>
              <a:gd name="connsiteX38" fmla="*/ 3469411 w 5137844"/>
              <a:gd name="connsiteY38" fmla="*/ 113407 h 2523948"/>
              <a:gd name="connsiteX39" fmla="*/ 3372816 w 5137844"/>
              <a:gd name="connsiteY39" fmla="*/ 113407 h 2523948"/>
              <a:gd name="connsiteX40" fmla="*/ 3335419 w 5137844"/>
              <a:gd name="connsiteY40" fmla="*/ 113407 h 2523948"/>
              <a:gd name="connsiteX41" fmla="*/ 3202309 w 5137844"/>
              <a:gd name="connsiteY41" fmla="*/ 113407 h 2523948"/>
              <a:gd name="connsiteX42" fmla="*/ 3200246 w 5137844"/>
              <a:gd name="connsiteY42" fmla="*/ 113407 h 2523948"/>
              <a:gd name="connsiteX43" fmla="*/ 3187006 w 5137844"/>
              <a:gd name="connsiteY43" fmla="*/ 113407 h 2523948"/>
              <a:gd name="connsiteX44" fmla="*/ 3185815 w 5137844"/>
              <a:gd name="connsiteY44" fmla="*/ 113407 h 2523948"/>
              <a:gd name="connsiteX45" fmla="*/ 3182316 w 5137844"/>
              <a:gd name="connsiteY45" fmla="*/ 113407 h 2523948"/>
              <a:gd name="connsiteX46" fmla="*/ 3180210 w 5137844"/>
              <a:gd name="connsiteY46" fmla="*/ 113407 h 2523948"/>
              <a:gd name="connsiteX47" fmla="*/ 3163716 w 5137844"/>
              <a:gd name="connsiteY47" fmla="*/ 113407 h 2523948"/>
              <a:gd name="connsiteX48" fmla="*/ 3146643 w 5137844"/>
              <a:gd name="connsiteY48" fmla="*/ 113407 h 2523948"/>
              <a:gd name="connsiteX49" fmla="*/ 3124544 w 5137844"/>
              <a:gd name="connsiteY49" fmla="*/ 113407 h 2523948"/>
              <a:gd name="connsiteX50" fmla="*/ 3070360 w 5137844"/>
              <a:gd name="connsiteY50" fmla="*/ 113407 h 2523948"/>
              <a:gd name="connsiteX51" fmla="*/ 3048262 w 5137844"/>
              <a:gd name="connsiteY51" fmla="*/ 113407 h 2523948"/>
              <a:gd name="connsiteX52" fmla="*/ 3014437 w 5137844"/>
              <a:gd name="connsiteY52" fmla="*/ 113407 h 2523948"/>
              <a:gd name="connsiteX53" fmla="*/ 3011809 w 5137844"/>
              <a:gd name="connsiteY53" fmla="*/ 113407 h 2523948"/>
              <a:gd name="connsiteX54" fmla="*/ 3009746 w 5137844"/>
              <a:gd name="connsiteY54" fmla="*/ 113407 h 2523948"/>
              <a:gd name="connsiteX55" fmla="*/ 2996506 w 5137844"/>
              <a:gd name="connsiteY55" fmla="*/ 113407 h 2523948"/>
              <a:gd name="connsiteX56" fmla="*/ 2995315 w 5137844"/>
              <a:gd name="connsiteY56" fmla="*/ 113407 h 2523948"/>
              <a:gd name="connsiteX57" fmla="*/ 2992338 w 5137844"/>
              <a:gd name="connsiteY57" fmla="*/ 113407 h 2523948"/>
              <a:gd name="connsiteX58" fmla="*/ 2989710 w 5137844"/>
              <a:gd name="connsiteY58" fmla="*/ 113407 h 2523948"/>
              <a:gd name="connsiteX59" fmla="*/ 2987648 w 5137844"/>
              <a:gd name="connsiteY59" fmla="*/ 113407 h 2523948"/>
              <a:gd name="connsiteX60" fmla="*/ 2973216 w 5137844"/>
              <a:gd name="connsiteY60" fmla="*/ 113407 h 2523948"/>
              <a:gd name="connsiteX61" fmla="*/ 2956143 w 5137844"/>
              <a:gd name="connsiteY61" fmla="*/ 113407 h 2523948"/>
              <a:gd name="connsiteX62" fmla="*/ 2944597 w 5137844"/>
              <a:gd name="connsiteY62" fmla="*/ 113407 h 2523948"/>
              <a:gd name="connsiteX63" fmla="*/ 2934044 w 5137844"/>
              <a:gd name="connsiteY63" fmla="*/ 113407 h 2523948"/>
              <a:gd name="connsiteX64" fmla="*/ 2922498 w 5137844"/>
              <a:gd name="connsiteY64" fmla="*/ 113407 h 2523948"/>
              <a:gd name="connsiteX65" fmla="*/ 2879860 w 5137844"/>
              <a:gd name="connsiteY65" fmla="*/ 113407 h 2523948"/>
              <a:gd name="connsiteX66" fmla="*/ 2859294 w 5137844"/>
              <a:gd name="connsiteY66" fmla="*/ 113407 h 2523948"/>
              <a:gd name="connsiteX67" fmla="*/ 2857762 w 5137844"/>
              <a:gd name="connsiteY67" fmla="*/ 113407 h 2523948"/>
              <a:gd name="connsiteX68" fmla="*/ 2837195 w 5137844"/>
              <a:gd name="connsiteY68" fmla="*/ 113407 h 2523948"/>
              <a:gd name="connsiteX69" fmla="*/ 2823937 w 5137844"/>
              <a:gd name="connsiteY69" fmla="*/ 113407 h 2523948"/>
              <a:gd name="connsiteX70" fmla="*/ 2801838 w 5137844"/>
              <a:gd name="connsiteY70" fmla="*/ 113407 h 2523948"/>
              <a:gd name="connsiteX71" fmla="*/ 2756982 w 5137844"/>
              <a:gd name="connsiteY71" fmla="*/ 113407 h 2523948"/>
              <a:gd name="connsiteX72" fmla="*/ 2754097 w 5137844"/>
              <a:gd name="connsiteY72" fmla="*/ 113407 h 2523948"/>
              <a:gd name="connsiteX73" fmla="*/ 2734884 w 5137844"/>
              <a:gd name="connsiteY73" fmla="*/ 113407 h 2523948"/>
              <a:gd name="connsiteX74" fmla="*/ 2731998 w 5137844"/>
              <a:gd name="connsiteY74" fmla="*/ 113407 h 2523948"/>
              <a:gd name="connsiteX75" fmla="*/ 2668794 w 5137844"/>
              <a:gd name="connsiteY75" fmla="*/ 113407 h 2523948"/>
              <a:gd name="connsiteX76" fmla="*/ 2646695 w 5137844"/>
              <a:gd name="connsiteY76" fmla="*/ 113407 h 2523948"/>
              <a:gd name="connsiteX77" fmla="*/ 2636115 w 5137844"/>
              <a:gd name="connsiteY77" fmla="*/ 113407 h 2523948"/>
              <a:gd name="connsiteX78" fmla="*/ 2614017 w 5137844"/>
              <a:gd name="connsiteY78" fmla="*/ 113407 h 2523948"/>
              <a:gd name="connsiteX79" fmla="*/ 2566482 w 5137844"/>
              <a:gd name="connsiteY79" fmla="*/ 113407 h 2523948"/>
              <a:gd name="connsiteX80" fmla="*/ 2544384 w 5137844"/>
              <a:gd name="connsiteY80" fmla="*/ 113407 h 2523948"/>
              <a:gd name="connsiteX81" fmla="*/ 2495147 w 5137844"/>
              <a:gd name="connsiteY81" fmla="*/ 113407 h 2523948"/>
              <a:gd name="connsiteX82" fmla="*/ 2473049 w 5137844"/>
              <a:gd name="connsiteY82" fmla="*/ 113407 h 2523948"/>
              <a:gd name="connsiteX83" fmla="*/ 2445615 w 5137844"/>
              <a:gd name="connsiteY83" fmla="*/ 113407 h 2523948"/>
              <a:gd name="connsiteX84" fmla="*/ 2423517 w 5137844"/>
              <a:gd name="connsiteY84" fmla="*/ 113407 h 2523948"/>
              <a:gd name="connsiteX85" fmla="*/ 2332532 w 5137844"/>
              <a:gd name="connsiteY85" fmla="*/ 113407 h 2523948"/>
              <a:gd name="connsiteX86" fmla="*/ 2310433 w 5137844"/>
              <a:gd name="connsiteY86" fmla="*/ 113407 h 2523948"/>
              <a:gd name="connsiteX87" fmla="*/ 2304647 w 5137844"/>
              <a:gd name="connsiteY87" fmla="*/ 113407 h 2523948"/>
              <a:gd name="connsiteX88" fmla="*/ 2282549 w 5137844"/>
              <a:gd name="connsiteY88" fmla="*/ 113407 h 2523948"/>
              <a:gd name="connsiteX89" fmla="*/ 2146721 w 5137844"/>
              <a:gd name="connsiteY89" fmla="*/ 113407 h 2523948"/>
              <a:gd name="connsiteX90" fmla="*/ 2142032 w 5137844"/>
              <a:gd name="connsiteY90" fmla="*/ 113407 h 2523948"/>
              <a:gd name="connsiteX91" fmla="*/ 2139925 w 5137844"/>
              <a:gd name="connsiteY91" fmla="*/ 113407 h 2523948"/>
              <a:gd name="connsiteX92" fmla="*/ 2137864 w 5137844"/>
              <a:gd name="connsiteY92" fmla="*/ 113407 h 2523948"/>
              <a:gd name="connsiteX93" fmla="*/ 2124622 w 5137844"/>
              <a:gd name="connsiteY93" fmla="*/ 113407 h 2523948"/>
              <a:gd name="connsiteX94" fmla="*/ 2123432 w 5137844"/>
              <a:gd name="connsiteY94" fmla="*/ 113407 h 2523948"/>
              <a:gd name="connsiteX95" fmla="*/ 2119933 w 5137844"/>
              <a:gd name="connsiteY95" fmla="*/ 113407 h 2523948"/>
              <a:gd name="connsiteX96" fmla="*/ 2097049 w 5137844"/>
              <a:gd name="connsiteY96" fmla="*/ 113407 h 2523948"/>
              <a:gd name="connsiteX97" fmla="*/ 1981658 w 5137844"/>
              <a:gd name="connsiteY97" fmla="*/ 113407 h 2523948"/>
              <a:gd name="connsiteX98" fmla="*/ 1956221 w 5137844"/>
              <a:gd name="connsiteY98" fmla="*/ 113407 h 2523948"/>
              <a:gd name="connsiteX99" fmla="*/ 1949425 w 5137844"/>
              <a:gd name="connsiteY99" fmla="*/ 113407 h 2523948"/>
              <a:gd name="connsiteX100" fmla="*/ 1947364 w 5137844"/>
              <a:gd name="connsiteY100" fmla="*/ 113407 h 2523948"/>
              <a:gd name="connsiteX101" fmla="*/ 1934122 w 5137844"/>
              <a:gd name="connsiteY101" fmla="*/ 113407 h 2523948"/>
              <a:gd name="connsiteX102" fmla="*/ 1932932 w 5137844"/>
              <a:gd name="connsiteY102" fmla="*/ 113407 h 2523948"/>
              <a:gd name="connsiteX103" fmla="*/ 1906549 w 5137844"/>
              <a:gd name="connsiteY103" fmla="*/ 113407 h 2523948"/>
              <a:gd name="connsiteX104" fmla="*/ 1882214 w 5137844"/>
              <a:gd name="connsiteY104" fmla="*/ 113407 h 2523948"/>
              <a:gd name="connsiteX105" fmla="*/ 1861030 w 5137844"/>
              <a:gd name="connsiteY105" fmla="*/ 113407 h 2523948"/>
              <a:gd name="connsiteX106" fmla="*/ 1791158 w 5137844"/>
              <a:gd name="connsiteY106" fmla="*/ 113407 h 2523948"/>
              <a:gd name="connsiteX107" fmla="*/ 1747978 w 5137844"/>
              <a:gd name="connsiteY107" fmla="*/ 113407 h 2523948"/>
              <a:gd name="connsiteX108" fmla="*/ 1691714 w 5137844"/>
              <a:gd name="connsiteY108" fmla="*/ 113407 h 2523948"/>
              <a:gd name="connsiteX109" fmla="*/ 1573733 w 5137844"/>
              <a:gd name="connsiteY109" fmla="*/ 113407 h 2523948"/>
              <a:gd name="connsiteX110" fmla="*/ 1557478 w 5137844"/>
              <a:gd name="connsiteY110" fmla="*/ 113407 h 2523948"/>
              <a:gd name="connsiteX111" fmla="*/ 1383233 w 5137844"/>
              <a:gd name="connsiteY111" fmla="*/ 113407 h 2523948"/>
              <a:gd name="connsiteX112" fmla="*/ 1354259 w 5137844"/>
              <a:gd name="connsiteY112" fmla="*/ 113407 h 2523948"/>
              <a:gd name="connsiteX113" fmla="*/ 1163759 w 5137844"/>
              <a:gd name="connsiteY113" fmla="*/ 113407 h 2523948"/>
              <a:gd name="connsiteX114" fmla="*/ 1084338 w 5137844"/>
              <a:gd name="connsiteY114" fmla="*/ 113407 h 2523948"/>
              <a:gd name="connsiteX115" fmla="*/ 893838 w 5137844"/>
              <a:gd name="connsiteY115" fmla="*/ 113407 h 2523948"/>
              <a:gd name="connsiteX116" fmla="*/ 690261 w 5137844"/>
              <a:gd name="connsiteY116" fmla="*/ 230339 h 2523948"/>
              <a:gd name="connsiteX117" fmla="*/ 162467 w 5137844"/>
              <a:gd name="connsiteY117" fmla="*/ 1145043 h 2523948"/>
              <a:gd name="connsiteX118" fmla="*/ 135606 w 5137844"/>
              <a:gd name="connsiteY118" fmla="*/ 1261974 h 2523948"/>
              <a:gd name="connsiteX119" fmla="*/ 0 w 5137844"/>
              <a:gd name="connsiteY119" fmla="*/ 1261974 h 2523948"/>
              <a:gd name="connsiteX120" fmla="*/ 29513 w 5137844"/>
              <a:gd name="connsiteY120" fmla="*/ 1133497 h 2523948"/>
              <a:gd name="connsiteX121" fmla="*/ 609420 w 5137844"/>
              <a:gd name="connsiteY121" fmla="*/ 128477 h 2523948"/>
              <a:gd name="connsiteX122" fmla="*/ 833098 w 5137844"/>
              <a:gd name="connsiteY122" fmla="*/ 0 h 2523948"/>
              <a:gd name="connsiteX123" fmla="*/ 1974790 w 5137844"/>
              <a:gd name="connsiteY123" fmla="*/ 0 h 2523948"/>
              <a:gd name="connsiteX124" fmla="*/ 1976098 w 5137844"/>
              <a:gd name="connsiteY124" fmla="*/ 0 h 2523948"/>
              <a:gd name="connsiteX125" fmla="*/ 1990647 w 5137844"/>
              <a:gd name="connsiteY125" fmla="*/ 0 h 2523948"/>
              <a:gd name="connsiteX126" fmla="*/ 1992912 w 5137844"/>
              <a:gd name="connsiteY126" fmla="*/ 0 h 2523948"/>
              <a:gd name="connsiteX127" fmla="*/ 2000379 w 5137844"/>
              <a:gd name="connsiteY127" fmla="*/ 0 h 2523948"/>
              <a:gd name="connsiteX128" fmla="*/ 2180255 w 5137844"/>
              <a:gd name="connsiteY128" fmla="*/ 0 h 2523948"/>
              <a:gd name="connsiteX129" fmla="*/ 2204536 w 5137844"/>
              <a:gd name="connsiteY129" fmla="*/ 0 h 2523948"/>
              <a:gd name="connsiteX130" fmla="*/ 2358928 w 5137844"/>
              <a:gd name="connsiteY130" fmla="*/ 0 h 2523948"/>
              <a:gd name="connsiteX131" fmla="*/ 2383208 w 5137844"/>
              <a:gd name="connsiteY131" fmla="*/ 0 h 2523948"/>
              <a:gd name="connsiteX132" fmla="*/ 2513815 w 5137844"/>
              <a:gd name="connsiteY132" fmla="*/ 0 h 2523948"/>
              <a:gd name="connsiteX133" fmla="*/ 2538095 w 5137844"/>
              <a:gd name="connsiteY133" fmla="*/ 0 h 2523948"/>
              <a:gd name="connsiteX134" fmla="*/ 2646616 w 5137844"/>
              <a:gd name="connsiteY134" fmla="*/ 0 h 2523948"/>
              <a:gd name="connsiteX135" fmla="*/ 2670896 w 5137844"/>
              <a:gd name="connsiteY135" fmla="*/ 0 h 2523948"/>
              <a:gd name="connsiteX136" fmla="*/ 2759029 w 5137844"/>
              <a:gd name="connsiteY136" fmla="*/ 0 h 2523948"/>
              <a:gd name="connsiteX137" fmla="*/ 2783310 w 5137844"/>
              <a:gd name="connsiteY137" fmla="*/ 0 h 2523948"/>
              <a:gd name="connsiteX138" fmla="*/ 2852754 w 5137844"/>
              <a:gd name="connsiteY138" fmla="*/ 0 h 2523948"/>
              <a:gd name="connsiteX139" fmla="*/ 2877035 w 5137844"/>
              <a:gd name="connsiteY139" fmla="*/ 0 h 2523948"/>
              <a:gd name="connsiteX140" fmla="*/ 2929490 w 5137844"/>
              <a:gd name="connsiteY140" fmla="*/ 0 h 2523948"/>
              <a:gd name="connsiteX141" fmla="*/ 2953771 w 5137844"/>
              <a:gd name="connsiteY141" fmla="*/ 0 h 2523948"/>
              <a:gd name="connsiteX142" fmla="*/ 2990936 w 5137844"/>
              <a:gd name="connsiteY142" fmla="*/ 0 h 2523948"/>
              <a:gd name="connsiteX143" fmla="*/ 3015216 w 5137844"/>
              <a:gd name="connsiteY143" fmla="*/ 0 h 2523948"/>
              <a:gd name="connsiteX144" fmla="*/ 3074750 w 5137844"/>
              <a:gd name="connsiteY144" fmla="*/ 0 h 2523948"/>
              <a:gd name="connsiteX145" fmla="*/ 3099031 w 5137844"/>
              <a:gd name="connsiteY145" fmla="*/ 0 h 2523948"/>
              <a:gd name="connsiteX146" fmla="*/ 3117790 w 5137844"/>
              <a:gd name="connsiteY146" fmla="*/ 0 h 2523948"/>
              <a:gd name="connsiteX147" fmla="*/ 3135912 w 5137844"/>
              <a:gd name="connsiteY147" fmla="*/ 0 h 2523948"/>
              <a:gd name="connsiteX148" fmla="*/ 3142071 w 5137844"/>
              <a:gd name="connsiteY148" fmla="*/ 0 h 2523948"/>
              <a:gd name="connsiteX149" fmla="*/ 3143379 w 5137844"/>
              <a:gd name="connsiteY149" fmla="*/ 0 h 2523948"/>
              <a:gd name="connsiteX150" fmla="*/ 3157927 w 5137844"/>
              <a:gd name="connsiteY150" fmla="*/ 0 h 2523948"/>
              <a:gd name="connsiteX151" fmla="*/ 3160193 w 5137844"/>
              <a:gd name="connsiteY151" fmla="*/ 0 h 2523948"/>
              <a:gd name="connsiteX152" fmla="*/ 3347536 w 5137844"/>
              <a:gd name="connsiteY152" fmla="*/ 0 h 2523948"/>
              <a:gd name="connsiteX153" fmla="*/ 4303193 w 5137844"/>
              <a:gd name="connsiteY153" fmla="*/ 0 h 2523948"/>
              <a:gd name="connsiteX154" fmla="*/ 4526872 w 5137844"/>
              <a:gd name="connsiteY154" fmla="*/ 128477 h 2523948"/>
              <a:gd name="connsiteX155" fmla="*/ 5106779 w 5137844"/>
              <a:gd name="connsiteY155" fmla="*/ 1133497 h 2523948"/>
              <a:gd name="connsiteX156" fmla="*/ 5106779 w 5137844"/>
              <a:gd name="connsiteY156" fmla="*/ 1390451 h 2523948"/>
              <a:gd name="connsiteX157" fmla="*/ 4526872 w 5137844"/>
              <a:gd name="connsiteY157" fmla="*/ 2395471 h 2523948"/>
              <a:gd name="connsiteX158" fmla="*/ 4303193 w 5137844"/>
              <a:gd name="connsiteY158" fmla="*/ 2523948 h 2523948"/>
              <a:gd name="connsiteX159" fmla="*/ 3160193 w 5137844"/>
              <a:gd name="connsiteY159" fmla="*/ 2523948 h 2523948"/>
              <a:gd name="connsiteX160" fmla="*/ 3143379 w 5137844"/>
              <a:gd name="connsiteY160" fmla="*/ 2523948 h 2523948"/>
              <a:gd name="connsiteX161" fmla="*/ 3135912 w 5137844"/>
              <a:gd name="connsiteY161" fmla="*/ 2523948 h 2523948"/>
              <a:gd name="connsiteX162" fmla="*/ 2000379 w 5137844"/>
              <a:gd name="connsiteY162" fmla="*/ 2523948 h 2523948"/>
              <a:gd name="connsiteX163" fmla="*/ 1992912 w 5137844"/>
              <a:gd name="connsiteY163" fmla="*/ 2523948 h 2523948"/>
              <a:gd name="connsiteX164" fmla="*/ 1976098 w 5137844"/>
              <a:gd name="connsiteY164" fmla="*/ 2523948 h 2523948"/>
              <a:gd name="connsiteX165" fmla="*/ 833098 w 5137844"/>
              <a:gd name="connsiteY165" fmla="*/ 2523948 h 2523948"/>
              <a:gd name="connsiteX166" fmla="*/ 609420 w 5137844"/>
              <a:gd name="connsiteY166" fmla="*/ 2395471 h 2523948"/>
              <a:gd name="connsiteX167" fmla="*/ 29513 w 5137844"/>
              <a:gd name="connsiteY167" fmla="*/ 1390451 h 2523948"/>
              <a:gd name="connsiteX168" fmla="*/ 0 w 5137844"/>
              <a:gd name="connsiteY168" fmla="*/ 1261974 h 2523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5137844" h="2523948">
                <a:moveTo>
                  <a:pt x="135606" y="1261974"/>
                </a:moveTo>
                <a:cubicBezTo>
                  <a:pt x="135606" y="1304409"/>
                  <a:pt x="144559" y="1346843"/>
                  <a:pt x="162467" y="1378906"/>
                </a:cubicBezTo>
                <a:cubicBezTo>
                  <a:pt x="162467" y="1378906"/>
                  <a:pt x="162467" y="1378906"/>
                  <a:pt x="690261" y="2293610"/>
                </a:cubicBezTo>
                <a:cubicBezTo>
                  <a:pt x="727960" y="2357733"/>
                  <a:pt x="820324" y="2410541"/>
                  <a:pt x="893838" y="2410541"/>
                </a:cubicBezTo>
                <a:lnTo>
                  <a:pt x="1084338" y="2410541"/>
                </a:lnTo>
                <a:lnTo>
                  <a:pt x="1934122" y="2410541"/>
                </a:lnTo>
                <a:lnTo>
                  <a:pt x="1949425" y="2410541"/>
                </a:lnTo>
                <a:lnTo>
                  <a:pt x="1956221" y="2410541"/>
                </a:lnTo>
                <a:lnTo>
                  <a:pt x="2124622" y="2410541"/>
                </a:lnTo>
                <a:lnTo>
                  <a:pt x="2139925" y="2410541"/>
                </a:lnTo>
                <a:lnTo>
                  <a:pt x="2146721" y="2410541"/>
                </a:lnTo>
                <a:lnTo>
                  <a:pt x="2989710" y="2410541"/>
                </a:lnTo>
                <a:lnTo>
                  <a:pt x="2996506" y="2410541"/>
                </a:lnTo>
                <a:lnTo>
                  <a:pt x="3011809" y="2410541"/>
                </a:lnTo>
                <a:lnTo>
                  <a:pt x="3180210" y="2410541"/>
                </a:lnTo>
                <a:lnTo>
                  <a:pt x="3187006" y="2410541"/>
                </a:lnTo>
                <a:lnTo>
                  <a:pt x="3202309" y="2410541"/>
                </a:lnTo>
                <a:lnTo>
                  <a:pt x="4052093" y="2410541"/>
                </a:lnTo>
                <a:lnTo>
                  <a:pt x="4242593" y="2410541"/>
                </a:lnTo>
                <a:cubicBezTo>
                  <a:pt x="4317992" y="2410541"/>
                  <a:pt x="4408471" y="2357733"/>
                  <a:pt x="4446171" y="2293610"/>
                </a:cubicBezTo>
                <a:cubicBezTo>
                  <a:pt x="4446171" y="2293610"/>
                  <a:pt x="4446171" y="2293610"/>
                  <a:pt x="4973965" y="1378906"/>
                </a:cubicBezTo>
                <a:cubicBezTo>
                  <a:pt x="5011664" y="1314782"/>
                  <a:pt x="5011664" y="1209166"/>
                  <a:pt x="4973965" y="1145043"/>
                </a:cubicBezTo>
                <a:cubicBezTo>
                  <a:pt x="4973965" y="1145043"/>
                  <a:pt x="4973965" y="1145043"/>
                  <a:pt x="4446171" y="230339"/>
                </a:cubicBezTo>
                <a:cubicBezTo>
                  <a:pt x="4408471" y="166215"/>
                  <a:pt x="4317992" y="113407"/>
                  <a:pt x="4242593" y="113407"/>
                </a:cubicBezTo>
                <a:cubicBezTo>
                  <a:pt x="4242593" y="113407"/>
                  <a:pt x="4242593" y="113407"/>
                  <a:pt x="4133871" y="113407"/>
                </a:cubicBezTo>
                <a:lnTo>
                  <a:pt x="4052093" y="113407"/>
                </a:lnTo>
                <a:lnTo>
                  <a:pt x="4050394" y="113407"/>
                </a:lnTo>
                <a:lnTo>
                  <a:pt x="4038503" y="113407"/>
                </a:lnTo>
                <a:lnTo>
                  <a:pt x="4030245" y="113407"/>
                </a:lnTo>
                <a:lnTo>
                  <a:pt x="4006226" y="113407"/>
                </a:lnTo>
                <a:lnTo>
                  <a:pt x="3943371" y="113407"/>
                </a:lnTo>
                <a:lnTo>
                  <a:pt x="3875656" y="113407"/>
                </a:lnTo>
                <a:lnTo>
                  <a:pt x="3839745" y="113407"/>
                </a:lnTo>
                <a:lnTo>
                  <a:pt x="3776065" y="113407"/>
                </a:lnTo>
                <a:lnTo>
                  <a:pt x="3685156" y="113407"/>
                </a:lnTo>
                <a:lnTo>
                  <a:pt x="3659911" y="113407"/>
                </a:lnTo>
                <a:lnTo>
                  <a:pt x="3585565" y="113407"/>
                </a:lnTo>
                <a:lnTo>
                  <a:pt x="3525919" y="113407"/>
                </a:lnTo>
                <a:lnTo>
                  <a:pt x="3469411" y="113407"/>
                </a:lnTo>
                <a:lnTo>
                  <a:pt x="3372816" y="113407"/>
                </a:lnTo>
                <a:lnTo>
                  <a:pt x="3335419" y="113407"/>
                </a:lnTo>
                <a:lnTo>
                  <a:pt x="3202309" y="113407"/>
                </a:lnTo>
                <a:lnTo>
                  <a:pt x="3200246" y="113407"/>
                </a:lnTo>
                <a:lnTo>
                  <a:pt x="3187006" y="113407"/>
                </a:lnTo>
                <a:lnTo>
                  <a:pt x="3185815" y="113407"/>
                </a:lnTo>
                <a:lnTo>
                  <a:pt x="3182316" y="113407"/>
                </a:lnTo>
                <a:lnTo>
                  <a:pt x="3180210" y="113407"/>
                </a:lnTo>
                <a:cubicBezTo>
                  <a:pt x="3180210" y="113407"/>
                  <a:pt x="3180210" y="113407"/>
                  <a:pt x="3163716" y="113407"/>
                </a:cubicBezTo>
                <a:lnTo>
                  <a:pt x="3146643" y="113407"/>
                </a:lnTo>
                <a:lnTo>
                  <a:pt x="3124544" y="113407"/>
                </a:lnTo>
                <a:lnTo>
                  <a:pt x="3070360" y="113407"/>
                </a:lnTo>
                <a:lnTo>
                  <a:pt x="3048262" y="113407"/>
                </a:lnTo>
                <a:lnTo>
                  <a:pt x="3014437" y="113407"/>
                </a:lnTo>
                <a:lnTo>
                  <a:pt x="3011809" y="113407"/>
                </a:lnTo>
                <a:lnTo>
                  <a:pt x="3009746" y="113407"/>
                </a:lnTo>
                <a:lnTo>
                  <a:pt x="2996506" y="113407"/>
                </a:lnTo>
                <a:lnTo>
                  <a:pt x="2995315" y="113407"/>
                </a:lnTo>
                <a:lnTo>
                  <a:pt x="2992338" y="113407"/>
                </a:lnTo>
                <a:lnTo>
                  <a:pt x="2989710" y="113407"/>
                </a:lnTo>
                <a:lnTo>
                  <a:pt x="2987648" y="113407"/>
                </a:lnTo>
                <a:lnTo>
                  <a:pt x="2973216" y="113407"/>
                </a:lnTo>
                <a:lnTo>
                  <a:pt x="2956143" y="113407"/>
                </a:lnTo>
                <a:lnTo>
                  <a:pt x="2944597" y="113407"/>
                </a:lnTo>
                <a:lnTo>
                  <a:pt x="2934044" y="113407"/>
                </a:lnTo>
                <a:lnTo>
                  <a:pt x="2922498" y="113407"/>
                </a:lnTo>
                <a:lnTo>
                  <a:pt x="2879860" y="113407"/>
                </a:lnTo>
                <a:lnTo>
                  <a:pt x="2859294" y="113407"/>
                </a:lnTo>
                <a:lnTo>
                  <a:pt x="2857762" y="113407"/>
                </a:lnTo>
                <a:lnTo>
                  <a:pt x="2837195" y="113407"/>
                </a:lnTo>
                <a:lnTo>
                  <a:pt x="2823937" y="113407"/>
                </a:lnTo>
                <a:lnTo>
                  <a:pt x="2801838" y="113407"/>
                </a:lnTo>
                <a:lnTo>
                  <a:pt x="2756982" y="113407"/>
                </a:lnTo>
                <a:lnTo>
                  <a:pt x="2754097" y="113407"/>
                </a:lnTo>
                <a:lnTo>
                  <a:pt x="2734884" y="113407"/>
                </a:lnTo>
                <a:lnTo>
                  <a:pt x="2731998" y="113407"/>
                </a:lnTo>
                <a:lnTo>
                  <a:pt x="2668794" y="113407"/>
                </a:lnTo>
                <a:lnTo>
                  <a:pt x="2646695" y="113407"/>
                </a:lnTo>
                <a:lnTo>
                  <a:pt x="2636115" y="113407"/>
                </a:lnTo>
                <a:lnTo>
                  <a:pt x="2614017" y="113407"/>
                </a:lnTo>
                <a:lnTo>
                  <a:pt x="2566482" y="113407"/>
                </a:lnTo>
                <a:lnTo>
                  <a:pt x="2544384" y="113407"/>
                </a:lnTo>
                <a:lnTo>
                  <a:pt x="2495147" y="113407"/>
                </a:lnTo>
                <a:lnTo>
                  <a:pt x="2473049" y="113407"/>
                </a:lnTo>
                <a:lnTo>
                  <a:pt x="2445615" y="113407"/>
                </a:lnTo>
                <a:lnTo>
                  <a:pt x="2423517" y="113407"/>
                </a:lnTo>
                <a:lnTo>
                  <a:pt x="2332532" y="113407"/>
                </a:lnTo>
                <a:lnTo>
                  <a:pt x="2310433" y="113407"/>
                </a:lnTo>
                <a:lnTo>
                  <a:pt x="2304647" y="113407"/>
                </a:lnTo>
                <a:lnTo>
                  <a:pt x="2282549" y="113407"/>
                </a:lnTo>
                <a:lnTo>
                  <a:pt x="2146721" y="113407"/>
                </a:lnTo>
                <a:lnTo>
                  <a:pt x="2142032" y="113407"/>
                </a:lnTo>
                <a:lnTo>
                  <a:pt x="2139925" y="113407"/>
                </a:lnTo>
                <a:lnTo>
                  <a:pt x="2137864" y="113407"/>
                </a:lnTo>
                <a:lnTo>
                  <a:pt x="2124622" y="113407"/>
                </a:lnTo>
                <a:lnTo>
                  <a:pt x="2123432" y="113407"/>
                </a:lnTo>
                <a:lnTo>
                  <a:pt x="2119933" y="113407"/>
                </a:lnTo>
                <a:lnTo>
                  <a:pt x="2097049" y="113407"/>
                </a:lnTo>
                <a:cubicBezTo>
                  <a:pt x="2073661" y="113407"/>
                  <a:pt x="2037517" y="113407"/>
                  <a:pt x="1981658" y="113407"/>
                </a:cubicBezTo>
                <a:lnTo>
                  <a:pt x="1956221" y="113407"/>
                </a:lnTo>
                <a:lnTo>
                  <a:pt x="1949425" y="113407"/>
                </a:lnTo>
                <a:lnTo>
                  <a:pt x="1947364" y="113407"/>
                </a:lnTo>
                <a:lnTo>
                  <a:pt x="1934122" y="113407"/>
                </a:lnTo>
                <a:lnTo>
                  <a:pt x="1932932" y="113407"/>
                </a:lnTo>
                <a:lnTo>
                  <a:pt x="1906549" y="113407"/>
                </a:lnTo>
                <a:lnTo>
                  <a:pt x="1882214" y="113407"/>
                </a:lnTo>
                <a:lnTo>
                  <a:pt x="1861030" y="113407"/>
                </a:lnTo>
                <a:lnTo>
                  <a:pt x="1791158" y="113407"/>
                </a:lnTo>
                <a:lnTo>
                  <a:pt x="1747978" y="113407"/>
                </a:lnTo>
                <a:lnTo>
                  <a:pt x="1691714" y="113407"/>
                </a:lnTo>
                <a:lnTo>
                  <a:pt x="1573733" y="113407"/>
                </a:lnTo>
                <a:lnTo>
                  <a:pt x="1557478" y="113407"/>
                </a:lnTo>
                <a:lnTo>
                  <a:pt x="1383233" y="113407"/>
                </a:lnTo>
                <a:lnTo>
                  <a:pt x="1354259" y="113407"/>
                </a:lnTo>
                <a:lnTo>
                  <a:pt x="1163759" y="113407"/>
                </a:lnTo>
                <a:lnTo>
                  <a:pt x="1084338" y="113407"/>
                </a:lnTo>
                <a:lnTo>
                  <a:pt x="893838" y="113407"/>
                </a:lnTo>
                <a:cubicBezTo>
                  <a:pt x="820324" y="113407"/>
                  <a:pt x="727960" y="166215"/>
                  <a:pt x="690261" y="230339"/>
                </a:cubicBezTo>
                <a:cubicBezTo>
                  <a:pt x="690261" y="230339"/>
                  <a:pt x="690261" y="230339"/>
                  <a:pt x="162467" y="1145043"/>
                </a:cubicBezTo>
                <a:cubicBezTo>
                  <a:pt x="144559" y="1177105"/>
                  <a:pt x="135606" y="1219539"/>
                  <a:pt x="135606" y="1261974"/>
                </a:cubicBezTo>
                <a:close/>
                <a:moveTo>
                  <a:pt x="0" y="1261974"/>
                </a:moveTo>
                <a:cubicBezTo>
                  <a:pt x="0" y="1215349"/>
                  <a:pt x="9837" y="1168725"/>
                  <a:pt x="29513" y="1133497"/>
                </a:cubicBezTo>
                <a:cubicBezTo>
                  <a:pt x="609420" y="128477"/>
                  <a:pt x="609420" y="128477"/>
                  <a:pt x="609420" y="128477"/>
                </a:cubicBezTo>
                <a:cubicBezTo>
                  <a:pt x="650842" y="58022"/>
                  <a:pt x="752325" y="0"/>
                  <a:pt x="833098" y="0"/>
                </a:cubicBezTo>
                <a:cubicBezTo>
                  <a:pt x="1702959" y="0"/>
                  <a:pt x="1920424" y="0"/>
                  <a:pt x="1974790" y="0"/>
                </a:cubicBezTo>
                <a:lnTo>
                  <a:pt x="1976098" y="0"/>
                </a:lnTo>
                <a:lnTo>
                  <a:pt x="1990647" y="0"/>
                </a:lnTo>
                <a:lnTo>
                  <a:pt x="1992912" y="0"/>
                </a:lnTo>
                <a:lnTo>
                  <a:pt x="2000379" y="0"/>
                </a:lnTo>
                <a:lnTo>
                  <a:pt x="2180255" y="0"/>
                </a:lnTo>
                <a:lnTo>
                  <a:pt x="2204536" y="0"/>
                </a:lnTo>
                <a:lnTo>
                  <a:pt x="2358928" y="0"/>
                </a:lnTo>
                <a:lnTo>
                  <a:pt x="2383208" y="0"/>
                </a:lnTo>
                <a:lnTo>
                  <a:pt x="2513815" y="0"/>
                </a:lnTo>
                <a:lnTo>
                  <a:pt x="2538095" y="0"/>
                </a:lnTo>
                <a:lnTo>
                  <a:pt x="2646616" y="0"/>
                </a:lnTo>
                <a:lnTo>
                  <a:pt x="2670896" y="0"/>
                </a:lnTo>
                <a:lnTo>
                  <a:pt x="2759029" y="0"/>
                </a:lnTo>
                <a:lnTo>
                  <a:pt x="2783310" y="0"/>
                </a:lnTo>
                <a:lnTo>
                  <a:pt x="2852754" y="0"/>
                </a:lnTo>
                <a:lnTo>
                  <a:pt x="2877035" y="0"/>
                </a:lnTo>
                <a:lnTo>
                  <a:pt x="2929490" y="0"/>
                </a:lnTo>
                <a:lnTo>
                  <a:pt x="2953771" y="0"/>
                </a:lnTo>
                <a:lnTo>
                  <a:pt x="2990936" y="0"/>
                </a:lnTo>
                <a:lnTo>
                  <a:pt x="3015216" y="0"/>
                </a:lnTo>
                <a:lnTo>
                  <a:pt x="3074750" y="0"/>
                </a:lnTo>
                <a:lnTo>
                  <a:pt x="3099031" y="0"/>
                </a:lnTo>
                <a:lnTo>
                  <a:pt x="3117790" y="0"/>
                </a:lnTo>
                <a:cubicBezTo>
                  <a:pt x="3135912" y="0"/>
                  <a:pt x="3135912" y="0"/>
                  <a:pt x="3135912" y="0"/>
                </a:cubicBezTo>
                <a:lnTo>
                  <a:pt x="3142071" y="0"/>
                </a:lnTo>
                <a:lnTo>
                  <a:pt x="3143379" y="0"/>
                </a:lnTo>
                <a:lnTo>
                  <a:pt x="3157927" y="0"/>
                </a:lnTo>
                <a:lnTo>
                  <a:pt x="3160193" y="0"/>
                </a:lnTo>
                <a:lnTo>
                  <a:pt x="3347536" y="0"/>
                </a:lnTo>
                <a:cubicBezTo>
                  <a:pt x="4303193" y="0"/>
                  <a:pt x="4303193" y="0"/>
                  <a:pt x="4303193" y="0"/>
                </a:cubicBezTo>
                <a:cubicBezTo>
                  <a:pt x="4386037" y="0"/>
                  <a:pt x="4485449" y="58022"/>
                  <a:pt x="4526872" y="128477"/>
                </a:cubicBezTo>
                <a:cubicBezTo>
                  <a:pt x="5106779" y="1133497"/>
                  <a:pt x="5106779" y="1133497"/>
                  <a:pt x="5106779" y="1133497"/>
                </a:cubicBezTo>
                <a:cubicBezTo>
                  <a:pt x="5148200" y="1203952"/>
                  <a:pt x="5148200" y="1319996"/>
                  <a:pt x="5106779" y="1390451"/>
                </a:cubicBezTo>
                <a:cubicBezTo>
                  <a:pt x="4526872" y="2395471"/>
                  <a:pt x="4526872" y="2395471"/>
                  <a:pt x="4526872" y="2395471"/>
                </a:cubicBezTo>
                <a:cubicBezTo>
                  <a:pt x="4485449" y="2465926"/>
                  <a:pt x="4386037" y="2523948"/>
                  <a:pt x="4303193" y="2523948"/>
                </a:cubicBezTo>
                <a:lnTo>
                  <a:pt x="3160193" y="2523948"/>
                </a:lnTo>
                <a:lnTo>
                  <a:pt x="3143379" y="2523948"/>
                </a:lnTo>
                <a:lnTo>
                  <a:pt x="3135912" y="2523948"/>
                </a:lnTo>
                <a:lnTo>
                  <a:pt x="2000379" y="2523948"/>
                </a:lnTo>
                <a:lnTo>
                  <a:pt x="1992912" y="2523948"/>
                </a:lnTo>
                <a:lnTo>
                  <a:pt x="1976098" y="2523948"/>
                </a:lnTo>
                <a:lnTo>
                  <a:pt x="833098" y="2523948"/>
                </a:lnTo>
                <a:cubicBezTo>
                  <a:pt x="752325" y="2523948"/>
                  <a:pt x="650842" y="2465926"/>
                  <a:pt x="609420" y="2395471"/>
                </a:cubicBezTo>
                <a:cubicBezTo>
                  <a:pt x="29513" y="1390451"/>
                  <a:pt x="29513" y="1390451"/>
                  <a:pt x="29513" y="1390451"/>
                </a:cubicBezTo>
                <a:cubicBezTo>
                  <a:pt x="9837" y="1355223"/>
                  <a:pt x="0" y="1308599"/>
                  <a:pt x="0" y="1261974"/>
                </a:cubicBezTo>
                <a:close/>
              </a:path>
            </a:pathLst>
          </a:custGeom>
          <a:solidFill>
            <a:srgbClr val="02919F"/>
          </a:solidFill>
          <a:ln w="25400">
            <a:solidFill>
              <a:srgbClr val="02919F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 sz="2000">
              <a:solidFill>
                <a:prstClr val="black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8" name="任意多边形 70"/>
          <p:cNvSpPr>
            <a:spLocks/>
          </p:cNvSpPr>
          <p:nvPr/>
        </p:nvSpPr>
        <p:spPr bwMode="auto">
          <a:xfrm rot="5400000">
            <a:off x="9939396" y="4109898"/>
            <a:ext cx="2273437" cy="1760195"/>
          </a:xfrm>
          <a:custGeom>
            <a:avLst/>
            <a:gdLst>
              <a:gd name="connsiteX0" fmla="*/ 135606 w 5137844"/>
              <a:gd name="connsiteY0" fmla="*/ 1261974 h 2523948"/>
              <a:gd name="connsiteX1" fmla="*/ 162467 w 5137844"/>
              <a:gd name="connsiteY1" fmla="*/ 1378906 h 2523948"/>
              <a:gd name="connsiteX2" fmla="*/ 690261 w 5137844"/>
              <a:gd name="connsiteY2" fmla="*/ 2293610 h 2523948"/>
              <a:gd name="connsiteX3" fmla="*/ 893838 w 5137844"/>
              <a:gd name="connsiteY3" fmla="*/ 2410541 h 2523948"/>
              <a:gd name="connsiteX4" fmla="*/ 1084338 w 5137844"/>
              <a:gd name="connsiteY4" fmla="*/ 2410541 h 2523948"/>
              <a:gd name="connsiteX5" fmla="*/ 1934122 w 5137844"/>
              <a:gd name="connsiteY5" fmla="*/ 2410541 h 2523948"/>
              <a:gd name="connsiteX6" fmla="*/ 1949425 w 5137844"/>
              <a:gd name="connsiteY6" fmla="*/ 2410541 h 2523948"/>
              <a:gd name="connsiteX7" fmla="*/ 1956221 w 5137844"/>
              <a:gd name="connsiteY7" fmla="*/ 2410541 h 2523948"/>
              <a:gd name="connsiteX8" fmla="*/ 2124622 w 5137844"/>
              <a:gd name="connsiteY8" fmla="*/ 2410541 h 2523948"/>
              <a:gd name="connsiteX9" fmla="*/ 2139925 w 5137844"/>
              <a:gd name="connsiteY9" fmla="*/ 2410541 h 2523948"/>
              <a:gd name="connsiteX10" fmla="*/ 2146721 w 5137844"/>
              <a:gd name="connsiteY10" fmla="*/ 2410541 h 2523948"/>
              <a:gd name="connsiteX11" fmla="*/ 2989710 w 5137844"/>
              <a:gd name="connsiteY11" fmla="*/ 2410541 h 2523948"/>
              <a:gd name="connsiteX12" fmla="*/ 2996506 w 5137844"/>
              <a:gd name="connsiteY12" fmla="*/ 2410541 h 2523948"/>
              <a:gd name="connsiteX13" fmla="*/ 3011809 w 5137844"/>
              <a:gd name="connsiteY13" fmla="*/ 2410541 h 2523948"/>
              <a:gd name="connsiteX14" fmla="*/ 3180210 w 5137844"/>
              <a:gd name="connsiteY14" fmla="*/ 2410541 h 2523948"/>
              <a:gd name="connsiteX15" fmla="*/ 3187006 w 5137844"/>
              <a:gd name="connsiteY15" fmla="*/ 2410541 h 2523948"/>
              <a:gd name="connsiteX16" fmla="*/ 3202309 w 5137844"/>
              <a:gd name="connsiteY16" fmla="*/ 2410541 h 2523948"/>
              <a:gd name="connsiteX17" fmla="*/ 4052093 w 5137844"/>
              <a:gd name="connsiteY17" fmla="*/ 2410541 h 2523948"/>
              <a:gd name="connsiteX18" fmla="*/ 4242593 w 5137844"/>
              <a:gd name="connsiteY18" fmla="*/ 2410541 h 2523948"/>
              <a:gd name="connsiteX19" fmla="*/ 4446171 w 5137844"/>
              <a:gd name="connsiteY19" fmla="*/ 2293610 h 2523948"/>
              <a:gd name="connsiteX20" fmla="*/ 4973965 w 5137844"/>
              <a:gd name="connsiteY20" fmla="*/ 1378906 h 2523948"/>
              <a:gd name="connsiteX21" fmla="*/ 4973965 w 5137844"/>
              <a:gd name="connsiteY21" fmla="*/ 1145043 h 2523948"/>
              <a:gd name="connsiteX22" fmla="*/ 4446171 w 5137844"/>
              <a:gd name="connsiteY22" fmla="*/ 230339 h 2523948"/>
              <a:gd name="connsiteX23" fmla="*/ 4242593 w 5137844"/>
              <a:gd name="connsiteY23" fmla="*/ 113407 h 2523948"/>
              <a:gd name="connsiteX24" fmla="*/ 4133871 w 5137844"/>
              <a:gd name="connsiteY24" fmla="*/ 113407 h 2523948"/>
              <a:gd name="connsiteX25" fmla="*/ 4052093 w 5137844"/>
              <a:gd name="connsiteY25" fmla="*/ 113407 h 2523948"/>
              <a:gd name="connsiteX26" fmla="*/ 4050394 w 5137844"/>
              <a:gd name="connsiteY26" fmla="*/ 113407 h 2523948"/>
              <a:gd name="connsiteX27" fmla="*/ 4038503 w 5137844"/>
              <a:gd name="connsiteY27" fmla="*/ 113407 h 2523948"/>
              <a:gd name="connsiteX28" fmla="*/ 4030245 w 5137844"/>
              <a:gd name="connsiteY28" fmla="*/ 113407 h 2523948"/>
              <a:gd name="connsiteX29" fmla="*/ 4006226 w 5137844"/>
              <a:gd name="connsiteY29" fmla="*/ 113407 h 2523948"/>
              <a:gd name="connsiteX30" fmla="*/ 3943371 w 5137844"/>
              <a:gd name="connsiteY30" fmla="*/ 113407 h 2523948"/>
              <a:gd name="connsiteX31" fmla="*/ 3875656 w 5137844"/>
              <a:gd name="connsiteY31" fmla="*/ 113407 h 2523948"/>
              <a:gd name="connsiteX32" fmla="*/ 3839745 w 5137844"/>
              <a:gd name="connsiteY32" fmla="*/ 113407 h 2523948"/>
              <a:gd name="connsiteX33" fmla="*/ 3776065 w 5137844"/>
              <a:gd name="connsiteY33" fmla="*/ 113407 h 2523948"/>
              <a:gd name="connsiteX34" fmla="*/ 3685156 w 5137844"/>
              <a:gd name="connsiteY34" fmla="*/ 113407 h 2523948"/>
              <a:gd name="connsiteX35" fmla="*/ 3659911 w 5137844"/>
              <a:gd name="connsiteY35" fmla="*/ 113407 h 2523948"/>
              <a:gd name="connsiteX36" fmla="*/ 3585565 w 5137844"/>
              <a:gd name="connsiteY36" fmla="*/ 113407 h 2523948"/>
              <a:gd name="connsiteX37" fmla="*/ 3525919 w 5137844"/>
              <a:gd name="connsiteY37" fmla="*/ 113407 h 2523948"/>
              <a:gd name="connsiteX38" fmla="*/ 3469411 w 5137844"/>
              <a:gd name="connsiteY38" fmla="*/ 113407 h 2523948"/>
              <a:gd name="connsiteX39" fmla="*/ 3372816 w 5137844"/>
              <a:gd name="connsiteY39" fmla="*/ 113407 h 2523948"/>
              <a:gd name="connsiteX40" fmla="*/ 3335419 w 5137844"/>
              <a:gd name="connsiteY40" fmla="*/ 113407 h 2523948"/>
              <a:gd name="connsiteX41" fmla="*/ 3202309 w 5137844"/>
              <a:gd name="connsiteY41" fmla="*/ 113407 h 2523948"/>
              <a:gd name="connsiteX42" fmla="*/ 3200246 w 5137844"/>
              <a:gd name="connsiteY42" fmla="*/ 113407 h 2523948"/>
              <a:gd name="connsiteX43" fmla="*/ 3187006 w 5137844"/>
              <a:gd name="connsiteY43" fmla="*/ 113407 h 2523948"/>
              <a:gd name="connsiteX44" fmla="*/ 3185815 w 5137844"/>
              <a:gd name="connsiteY44" fmla="*/ 113407 h 2523948"/>
              <a:gd name="connsiteX45" fmla="*/ 3182316 w 5137844"/>
              <a:gd name="connsiteY45" fmla="*/ 113407 h 2523948"/>
              <a:gd name="connsiteX46" fmla="*/ 3180210 w 5137844"/>
              <a:gd name="connsiteY46" fmla="*/ 113407 h 2523948"/>
              <a:gd name="connsiteX47" fmla="*/ 3163716 w 5137844"/>
              <a:gd name="connsiteY47" fmla="*/ 113407 h 2523948"/>
              <a:gd name="connsiteX48" fmla="*/ 3146643 w 5137844"/>
              <a:gd name="connsiteY48" fmla="*/ 113407 h 2523948"/>
              <a:gd name="connsiteX49" fmla="*/ 3124544 w 5137844"/>
              <a:gd name="connsiteY49" fmla="*/ 113407 h 2523948"/>
              <a:gd name="connsiteX50" fmla="*/ 3070360 w 5137844"/>
              <a:gd name="connsiteY50" fmla="*/ 113407 h 2523948"/>
              <a:gd name="connsiteX51" fmla="*/ 3048262 w 5137844"/>
              <a:gd name="connsiteY51" fmla="*/ 113407 h 2523948"/>
              <a:gd name="connsiteX52" fmla="*/ 3014437 w 5137844"/>
              <a:gd name="connsiteY52" fmla="*/ 113407 h 2523948"/>
              <a:gd name="connsiteX53" fmla="*/ 3011809 w 5137844"/>
              <a:gd name="connsiteY53" fmla="*/ 113407 h 2523948"/>
              <a:gd name="connsiteX54" fmla="*/ 3009746 w 5137844"/>
              <a:gd name="connsiteY54" fmla="*/ 113407 h 2523948"/>
              <a:gd name="connsiteX55" fmla="*/ 2996506 w 5137844"/>
              <a:gd name="connsiteY55" fmla="*/ 113407 h 2523948"/>
              <a:gd name="connsiteX56" fmla="*/ 2995315 w 5137844"/>
              <a:gd name="connsiteY56" fmla="*/ 113407 h 2523948"/>
              <a:gd name="connsiteX57" fmla="*/ 2992338 w 5137844"/>
              <a:gd name="connsiteY57" fmla="*/ 113407 h 2523948"/>
              <a:gd name="connsiteX58" fmla="*/ 2989710 w 5137844"/>
              <a:gd name="connsiteY58" fmla="*/ 113407 h 2523948"/>
              <a:gd name="connsiteX59" fmla="*/ 2987648 w 5137844"/>
              <a:gd name="connsiteY59" fmla="*/ 113407 h 2523948"/>
              <a:gd name="connsiteX60" fmla="*/ 2973216 w 5137844"/>
              <a:gd name="connsiteY60" fmla="*/ 113407 h 2523948"/>
              <a:gd name="connsiteX61" fmla="*/ 2956143 w 5137844"/>
              <a:gd name="connsiteY61" fmla="*/ 113407 h 2523948"/>
              <a:gd name="connsiteX62" fmla="*/ 2944597 w 5137844"/>
              <a:gd name="connsiteY62" fmla="*/ 113407 h 2523948"/>
              <a:gd name="connsiteX63" fmla="*/ 2934044 w 5137844"/>
              <a:gd name="connsiteY63" fmla="*/ 113407 h 2523948"/>
              <a:gd name="connsiteX64" fmla="*/ 2922498 w 5137844"/>
              <a:gd name="connsiteY64" fmla="*/ 113407 h 2523948"/>
              <a:gd name="connsiteX65" fmla="*/ 2879860 w 5137844"/>
              <a:gd name="connsiteY65" fmla="*/ 113407 h 2523948"/>
              <a:gd name="connsiteX66" fmla="*/ 2859294 w 5137844"/>
              <a:gd name="connsiteY66" fmla="*/ 113407 h 2523948"/>
              <a:gd name="connsiteX67" fmla="*/ 2857762 w 5137844"/>
              <a:gd name="connsiteY67" fmla="*/ 113407 h 2523948"/>
              <a:gd name="connsiteX68" fmla="*/ 2837195 w 5137844"/>
              <a:gd name="connsiteY68" fmla="*/ 113407 h 2523948"/>
              <a:gd name="connsiteX69" fmla="*/ 2823937 w 5137844"/>
              <a:gd name="connsiteY69" fmla="*/ 113407 h 2523948"/>
              <a:gd name="connsiteX70" fmla="*/ 2801838 w 5137844"/>
              <a:gd name="connsiteY70" fmla="*/ 113407 h 2523948"/>
              <a:gd name="connsiteX71" fmla="*/ 2756982 w 5137844"/>
              <a:gd name="connsiteY71" fmla="*/ 113407 h 2523948"/>
              <a:gd name="connsiteX72" fmla="*/ 2754097 w 5137844"/>
              <a:gd name="connsiteY72" fmla="*/ 113407 h 2523948"/>
              <a:gd name="connsiteX73" fmla="*/ 2734884 w 5137844"/>
              <a:gd name="connsiteY73" fmla="*/ 113407 h 2523948"/>
              <a:gd name="connsiteX74" fmla="*/ 2731998 w 5137844"/>
              <a:gd name="connsiteY74" fmla="*/ 113407 h 2523948"/>
              <a:gd name="connsiteX75" fmla="*/ 2668794 w 5137844"/>
              <a:gd name="connsiteY75" fmla="*/ 113407 h 2523948"/>
              <a:gd name="connsiteX76" fmla="*/ 2646695 w 5137844"/>
              <a:gd name="connsiteY76" fmla="*/ 113407 h 2523948"/>
              <a:gd name="connsiteX77" fmla="*/ 2636115 w 5137844"/>
              <a:gd name="connsiteY77" fmla="*/ 113407 h 2523948"/>
              <a:gd name="connsiteX78" fmla="*/ 2614017 w 5137844"/>
              <a:gd name="connsiteY78" fmla="*/ 113407 h 2523948"/>
              <a:gd name="connsiteX79" fmla="*/ 2566482 w 5137844"/>
              <a:gd name="connsiteY79" fmla="*/ 113407 h 2523948"/>
              <a:gd name="connsiteX80" fmla="*/ 2544384 w 5137844"/>
              <a:gd name="connsiteY80" fmla="*/ 113407 h 2523948"/>
              <a:gd name="connsiteX81" fmla="*/ 2495147 w 5137844"/>
              <a:gd name="connsiteY81" fmla="*/ 113407 h 2523948"/>
              <a:gd name="connsiteX82" fmla="*/ 2473049 w 5137844"/>
              <a:gd name="connsiteY82" fmla="*/ 113407 h 2523948"/>
              <a:gd name="connsiteX83" fmla="*/ 2445615 w 5137844"/>
              <a:gd name="connsiteY83" fmla="*/ 113407 h 2523948"/>
              <a:gd name="connsiteX84" fmla="*/ 2423517 w 5137844"/>
              <a:gd name="connsiteY84" fmla="*/ 113407 h 2523948"/>
              <a:gd name="connsiteX85" fmla="*/ 2332532 w 5137844"/>
              <a:gd name="connsiteY85" fmla="*/ 113407 h 2523948"/>
              <a:gd name="connsiteX86" fmla="*/ 2310433 w 5137844"/>
              <a:gd name="connsiteY86" fmla="*/ 113407 h 2523948"/>
              <a:gd name="connsiteX87" fmla="*/ 2304647 w 5137844"/>
              <a:gd name="connsiteY87" fmla="*/ 113407 h 2523948"/>
              <a:gd name="connsiteX88" fmla="*/ 2282549 w 5137844"/>
              <a:gd name="connsiteY88" fmla="*/ 113407 h 2523948"/>
              <a:gd name="connsiteX89" fmla="*/ 2146721 w 5137844"/>
              <a:gd name="connsiteY89" fmla="*/ 113407 h 2523948"/>
              <a:gd name="connsiteX90" fmla="*/ 2142032 w 5137844"/>
              <a:gd name="connsiteY90" fmla="*/ 113407 h 2523948"/>
              <a:gd name="connsiteX91" fmla="*/ 2139925 w 5137844"/>
              <a:gd name="connsiteY91" fmla="*/ 113407 h 2523948"/>
              <a:gd name="connsiteX92" fmla="*/ 2137864 w 5137844"/>
              <a:gd name="connsiteY92" fmla="*/ 113407 h 2523948"/>
              <a:gd name="connsiteX93" fmla="*/ 2124622 w 5137844"/>
              <a:gd name="connsiteY93" fmla="*/ 113407 h 2523948"/>
              <a:gd name="connsiteX94" fmla="*/ 2123432 w 5137844"/>
              <a:gd name="connsiteY94" fmla="*/ 113407 h 2523948"/>
              <a:gd name="connsiteX95" fmla="*/ 2119933 w 5137844"/>
              <a:gd name="connsiteY95" fmla="*/ 113407 h 2523948"/>
              <a:gd name="connsiteX96" fmla="*/ 2097049 w 5137844"/>
              <a:gd name="connsiteY96" fmla="*/ 113407 h 2523948"/>
              <a:gd name="connsiteX97" fmla="*/ 1981658 w 5137844"/>
              <a:gd name="connsiteY97" fmla="*/ 113407 h 2523948"/>
              <a:gd name="connsiteX98" fmla="*/ 1956221 w 5137844"/>
              <a:gd name="connsiteY98" fmla="*/ 113407 h 2523948"/>
              <a:gd name="connsiteX99" fmla="*/ 1949425 w 5137844"/>
              <a:gd name="connsiteY99" fmla="*/ 113407 h 2523948"/>
              <a:gd name="connsiteX100" fmla="*/ 1947364 w 5137844"/>
              <a:gd name="connsiteY100" fmla="*/ 113407 h 2523948"/>
              <a:gd name="connsiteX101" fmla="*/ 1934122 w 5137844"/>
              <a:gd name="connsiteY101" fmla="*/ 113407 h 2523948"/>
              <a:gd name="connsiteX102" fmla="*/ 1932932 w 5137844"/>
              <a:gd name="connsiteY102" fmla="*/ 113407 h 2523948"/>
              <a:gd name="connsiteX103" fmla="*/ 1906549 w 5137844"/>
              <a:gd name="connsiteY103" fmla="*/ 113407 h 2523948"/>
              <a:gd name="connsiteX104" fmla="*/ 1882214 w 5137844"/>
              <a:gd name="connsiteY104" fmla="*/ 113407 h 2523948"/>
              <a:gd name="connsiteX105" fmla="*/ 1861030 w 5137844"/>
              <a:gd name="connsiteY105" fmla="*/ 113407 h 2523948"/>
              <a:gd name="connsiteX106" fmla="*/ 1791158 w 5137844"/>
              <a:gd name="connsiteY106" fmla="*/ 113407 h 2523948"/>
              <a:gd name="connsiteX107" fmla="*/ 1747978 w 5137844"/>
              <a:gd name="connsiteY107" fmla="*/ 113407 h 2523948"/>
              <a:gd name="connsiteX108" fmla="*/ 1691714 w 5137844"/>
              <a:gd name="connsiteY108" fmla="*/ 113407 h 2523948"/>
              <a:gd name="connsiteX109" fmla="*/ 1573733 w 5137844"/>
              <a:gd name="connsiteY109" fmla="*/ 113407 h 2523948"/>
              <a:gd name="connsiteX110" fmla="*/ 1557478 w 5137844"/>
              <a:gd name="connsiteY110" fmla="*/ 113407 h 2523948"/>
              <a:gd name="connsiteX111" fmla="*/ 1383233 w 5137844"/>
              <a:gd name="connsiteY111" fmla="*/ 113407 h 2523948"/>
              <a:gd name="connsiteX112" fmla="*/ 1354259 w 5137844"/>
              <a:gd name="connsiteY112" fmla="*/ 113407 h 2523948"/>
              <a:gd name="connsiteX113" fmla="*/ 1163759 w 5137844"/>
              <a:gd name="connsiteY113" fmla="*/ 113407 h 2523948"/>
              <a:gd name="connsiteX114" fmla="*/ 1084338 w 5137844"/>
              <a:gd name="connsiteY114" fmla="*/ 113407 h 2523948"/>
              <a:gd name="connsiteX115" fmla="*/ 893838 w 5137844"/>
              <a:gd name="connsiteY115" fmla="*/ 113407 h 2523948"/>
              <a:gd name="connsiteX116" fmla="*/ 690261 w 5137844"/>
              <a:gd name="connsiteY116" fmla="*/ 230339 h 2523948"/>
              <a:gd name="connsiteX117" fmla="*/ 162467 w 5137844"/>
              <a:gd name="connsiteY117" fmla="*/ 1145043 h 2523948"/>
              <a:gd name="connsiteX118" fmla="*/ 135606 w 5137844"/>
              <a:gd name="connsiteY118" fmla="*/ 1261974 h 2523948"/>
              <a:gd name="connsiteX119" fmla="*/ 0 w 5137844"/>
              <a:gd name="connsiteY119" fmla="*/ 1261974 h 2523948"/>
              <a:gd name="connsiteX120" fmla="*/ 29513 w 5137844"/>
              <a:gd name="connsiteY120" fmla="*/ 1133497 h 2523948"/>
              <a:gd name="connsiteX121" fmla="*/ 609420 w 5137844"/>
              <a:gd name="connsiteY121" fmla="*/ 128477 h 2523948"/>
              <a:gd name="connsiteX122" fmla="*/ 833098 w 5137844"/>
              <a:gd name="connsiteY122" fmla="*/ 0 h 2523948"/>
              <a:gd name="connsiteX123" fmla="*/ 1974790 w 5137844"/>
              <a:gd name="connsiteY123" fmla="*/ 0 h 2523948"/>
              <a:gd name="connsiteX124" fmla="*/ 1976098 w 5137844"/>
              <a:gd name="connsiteY124" fmla="*/ 0 h 2523948"/>
              <a:gd name="connsiteX125" fmla="*/ 1990647 w 5137844"/>
              <a:gd name="connsiteY125" fmla="*/ 0 h 2523948"/>
              <a:gd name="connsiteX126" fmla="*/ 1992912 w 5137844"/>
              <a:gd name="connsiteY126" fmla="*/ 0 h 2523948"/>
              <a:gd name="connsiteX127" fmla="*/ 2000379 w 5137844"/>
              <a:gd name="connsiteY127" fmla="*/ 0 h 2523948"/>
              <a:gd name="connsiteX128" fmla="*/ 2180255 w 5137844"/>
              <a:gd name="connsiteY128" fmla="*/ 0 h 2523948"/>
              <a:gd name="connsiteX129" fmla="*/ 2204536 w 5137844"/>
              <a:gd name="connsiteY129" fmla="*/ 0 h 2523948"/>
              <a:gd name="connsiteX130" fmla="*/ 2358928 w 5137844"/>
              <a:gd name="connsiteY130" fmla="*/ 0 h 2523948"/>
              <a:gd name="connsiteX131" fmla="*/ 2383208 w 5137844"/>
              <a:gd name="connsiteY131" fmla="*/ 0 h 2523948"/>
              <a:gd name="connsiteX132" fmla="*/ 2513815 w 5137844"/>
              <a:gd name="connsiteY132" fmla="*/ 0 h 2523948"/>
              <a:gd name="connsiteX133" fmla="*/ 2538095 w 5137844"/>
              <a:gd name="connsiteY133" fmla="*/ 0 h 2523948"/>
              <a:gd name="connsiteX134" fmla="*/ 2646616 w 5137844"/>
              <a:gd name="connsiteY134" fmla="*/ 0 h 2523948"/>
              <a:gd name="connsiteX135" fmla="*/ 2670896 w 5137844"/>
              <a:gd name="connsiteY135" fmla="*/ 0 h 2523948"/>
              <a:gd name="connsiteX136" fmla="*/ 2759029 w 5137844"/>
              <a:gd name="connsiteY136" fmla="*/ 0 h 2523948"/>
              <a:gd name="connsiteX137" fmla="*/ 2783310 w 5137844"/>
              <a:gd name="connsiteY137" fmla="*/ 0 h 2523948"/>
              <a:gd name="connsiteX138" fmla="*/ 2852754 w 5137844"/>
              <a:gd name="connsiteY138" fmla="*/ 0 h 2523948"/>
              <a:gd name="connsiteX139" fmla="*/ 2877035 w 5137844"/>
              <a:gd name="connsiteY139" fmla="*/ 0 h 2523948"/>
              <a:gd name="connsiteX140" fmla="*/ 2929490 w 5137844"/>
              <a:gd name="connsiteY140" fmla="*/ 0 h 2523948"/>
              <a:gd name="connsiteX141" fmla="*/ 2953771 w 5137844"/>
              <a:gd name="connsiteY141" fmla="*/ 0 h 2523948"/>
              <a:gd name="connsiteX142" fmla="*/ 2990936 w 5137844"/>
              <a:gd name="connsiteY142" fmla="*/ 0 h 2523948"/>
              <a:gd name="connsiteX143" fmla="*/ 3015216 w 5137844"/>
              <a:gd name="connsiteY143" fmla="*/ 0 h 2523948"/>
              <a:gd name="connsiteX144" fmla="*/ 3074750 w 5137844"/>
              <a:gd name="connsiteY144" fmla="*/ 0 h 2523948"/>
              <a:gd name="connsiteX145" fmla="*/ 3099031 w 5137844"/>
              <a:gd name="connsiteY145" fmla="*/ 0 h 2523948"/>
              <a:gd name="connsiteX146" fmla="*/ 3117790 w 5137844"/>
              <a:gd name="connsiteY146" fmla="*/ 0 h 2523948"/>
              <a:gd name="connsiteX147" fmla="*/ 3135912 w 5137844"/>
              <a:gd name="connsiteY147" fmla="*/ 0 h 2523948"/>
              <a:gd name="connsiteX148" fmla="*/ 3142071 w 5137844"/>
              <a:gd name="connsiteY148" fmla="*/ 0 h 2523948"/>
              <a:gd name="connsiteX149" fmla="*/ 3143379 w 5137844"/>
              <a:gd name="connsiteY149" fmla="*/ 0 h 2523948"/>
              <a:gd name="connsiteX150" fmla="*/ 3157927 w 5137844"/>
              <a:gd name="connsiteY150" fmla="*/ 0 h 2523948"/>
              <a:gd name="connsiteX151" fmla="*/ 3160193 w 5137844"/>
              <a:gd name="connsiteY151" fmla="*/ 0 h 2523948"/>
              <a:gd name="connsiteX152" fmla="*/ 3347536 w 5137844"/>
              <a:gd name="connsiteY152" fmla="*/ 0 h 2523948"/>
              <a:gd name="connsiteX153" fmla="*/ 4303193 w 5137844"/>
              <a:gd name="connsiteY153" fmla="*/ 0 h 2523948"/>
              <a:gd name="connsiteX154" fmla="*/ 4526872 w 5137844"/>
              <a:gd name="connsiteY154" fmla="*/ 128477 h 2523948"/>
              <a:gd name="connsiteX155" fmla="*/ 5106779 w 5137844"/>
              <a:gd name="connsiteY155" fmla="*/ 1133497 h 2523948"/>
              <a:gd name="connsiteX156" fmla="*/ 5106779 w 5137844"/>
              <a:gd name="connsiteY156" fmla="*/ 1390451 h 2523948"/>
              <a:gd name="connsiteX157" fmla="*/ 4526872 w 5137844"/>
              <a:gd name="connsiteY157" fmla="*/ 2395471 h 2523948"/>
              <a:gd name="connsiteX158" fmla="*/ 4303193 w 5137844"/>
              <a:gd name="connsiteY158" fmla="*/ 2523948 h 2523948"/>
              <a:gd name="connsiteX159" fmla="*/ 3160193 w 5137844"/>
              <a:gd name="connsiteY159" fmla="*/ 2523948 h 2523948"/>
              <a:gd name="connsiteX160" fmla="*/ 3143379 w 5137844"/>
              <a:gd name="connsiteY160" fmla="*/ 2523948 h 2523948"/>
              <a:gd name="connsiteX161" fmla="*/ 3135912 w 5137844"/>
              <a:gd name="connsiteY161" fmla="*/ 2523948 h 2523948"/>
              <a:gd name="connsiteX162" fmla="*/ 2000379 w 5137844"/>
              <a:gd name="connsiteY162" fmla="*/ 2523948 h 2523948"/>
              <a:gd name="connsiteX163" fmla="*/ 1992912 w 5137844"/>
              <a:gd name="connsiteY163" fmla="*/ 2523948 h 2523948"/>
              <a:gd name="connsiteX164" fmla="*/ 1976098 w 5137844"/>
              <a:gd name="connsiteY164" fmla="*/ 2523948 h 2523948"/>
              <a:gd name="connsiteX165" fmla="*/ 833098 w 5137844"/>
              <a:gd name="connsiteY165" fmla="*/ 2523948 h 2523948"/>
              <a:gd name="connsiteX166" fmla="*/ 609420 w 5137844"/>
              <a:gd name="connsiteY166" fmla="*/ 2395471 h 2523948"/>
              <a:gd name="connsiteX167" fmla="*/ 29513 w 5137844"/>
              <a:gd name="connsiteY167" fmla="*/ 1390451 h 2523948"/>
              <a:gd name="connsiteX168" fmla="*/ 0 w 5137844"/>
              <a:gd name="connsiteY168" fmla="*/ 1261974 h 25239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</a:cxnLst>
            <a:rect l="l" t="t" r="r" b="b"/>
            <a:pathLst>
              <a:path w="5137844" h="2523948">
                <a:moveTo>
                  <a:pt x="135606" y="1261974"/>
                </a:moveTo>
                <a:cubicBezTo>
                  <a:pt x="135606" y="1304409"/>
                  <a:pt x="144559" y="1346843"/>
                  <a:pt x="162467" y="1378906"/>
                </a:cubicBezTo>
                <a:cubicBezTo>
                  <a:pt x="162467" y="1378906"/>
                  <a:pt x="162467" y="1378906"/>
                  <a:pt x="690261" y="2293610"/>
                </a:cubicBezTo>
                <a:cubicBezTo>
                  <a:pt x="727960" y="2357733"/>
                  <a:pt x="820324" y="2410541"/>
                  <a:pt x="893838" y="2410541"/>
                </a:cubicBezTo>
                <a:lnTo>
                  <a:pt x="1084338" y="2410541"/>
                </a:lnTo>
                <a:lnTo>
                  <a:pt x="1934122" y="2410541"/>
                </a:lnTo>
                <a:lnTo>
                  <a:pt x="1949425" y="2410541"/>
                </a:lnTo>
                <a:lnTo>
                  <a:pt x="1956221" y="2410541"/>
                </a:lnTo>
                <a:lnTo>
                  <a:pt x="2124622" y="2410541"/>
                </a:lnTo>
                <a:lnTo>
                  <a:pt x="2139925" y="2410541"/>
                </a:lnTo>
                <a:lnTo>
                  <a:pt x="2146721" y="2410541"/>
                </a:lnTo>
                <a:lnTo>
                  <a:pt x="2989710" y="2410541"/>
                </a:lnTo>
                <a:lnTo>
                  <a:pt x="2996506" y="2410541"/>
                </a:lnTo>
                <a:lnTo>
                  <a:pt x="3011809" y="2410541"/>
                </a:lnTo>
                <a:lnTo>
                  <a:pt x="3180210" y="2410541"/>
                </a:lnTo>
                <a:lnTo>
                  <a:pt x="3187006" y="2410541"/>
                </a:lnTo>
                <a:lnTo>
                  <a:pt x="3202309" y="2410541"/>
                </a:lnTo>
                <a:lnTo>
                  <a:pt x="4052093" y="2410541"/>
                </a:lnTo>
                <a:lnTo>
                  <a:pt x="4242593" y="2410541"/>
                </a:lnTo>
                <a:cubicBezTo>
                  <a:pt x="4317992" y="2410541"/>
                  <a:pt x="4408471" y="2357733"/>
                  <a:pt x="4446171" y="2293610"/>
                </a:cubicBezTo>
                <a:cubicBezTo>
                  <a:pt x="4446171" y="2293610"/>
                  <a:pt x="4446171" y="2293610"/>
                  <a:pt x="4973965" y="1378906"/>
                </a:cubicBezTo>
                <a:cubicBezTo>
                  <a:pt x="5011664" y="1314782"/>
                  <a:pt x="5011664" y="1209166"/>
                  <a:pt x="4973965" y="1145043"/>
                </a:cubicBezTo>
                <a:cubicBezTo>
                  <a:pt x="4973965" y="1145043"/>
                  <a:pt x="4973965" y="1145043"/>
                  <a:pt x="4446171" y="230339"/>
                </a:cubicBezTo>
                <a:cubicBezTo>
                  <a:pt x="4408471" y="166215"/>
                  <a:pt x="4317992" y="113407"/>
                  <a:pt x="4242593" y="113407"/>
                </a:cubicBezTo>
                <a:cubicBezTo>
                  <a:pt x="4242593" y="113407"/>
                  <a:pt x="4242593" y="113407"/>
                  <a:pt x="4133871" y="113407"/>
                </a:cubicBezTo>
                <a:lnTo>
                  <a:pt x="4052093" y="113407"/>
                </a:lnTo>
                <a:lnTo>
                  <a:pt x="4050394" y="113407"/>
                </a:lnTo>
                <a:lnTo>
                  <a:pt x="4038503" y="113407"/>
                </a:lnTo>
                <a:lnTo>
                  <a:pt x="4030245" y="113407"/>
                </a:lnTo>
                <a:lnTo>
                  <a:pt x="4006226" y="113407"/>
                </a:lnTo>
                <a:lnTo>
                  <a:pt x="3943371" y="113407"/>
                </a:lnTo>
                <a:lnTo>
                  <a:pt x="3875656" y="113407"/>
                </a:lnTo>
                <a:lnTo>
                  <a:pt x="3839745" y="113407"/>
                </a:lnTo>
                <a:lnTo>
                  <a:pt x="3776065" y="113407"/>
                </a:lnTo>
                <a:lnTo>
                  <a:pt x="3685156" y="113407"/>
                </a:lnTo>
                <a:lnTo>
                  <a:pt x="3659911" y="113407"/>
                </a:lnTo>
                <a:lnTo>
                  <a:pt x="3585565" y="113407"/>
                </a:lnTo>
                <a:lnTo>
                  <a:pt x="3525919" y="113407"/>
                </a:lnTo>
                <a:lnTo>
                  <a:pt x="3469411" y="113407"/>
                </a:lnTo>
                <a:lnTo>
                  <a:pt x="3372816" y="113407"/>
                </a:lnTo>
                <a:lnTo>
                  <a:pt x="3335419" y="113407"/>
                </a:lnTo>
                <a:lnTo>
                  <a:pt x="3202309" y="113407"/>
                </a:lnTo>
                <a:lnTo>
                  <a:pt x="3200246" y="113407"/>
                </a:lnTo>
                <a:lnTo>
                  <a:pt x="3187006" y="113407"/>
                </a:lnTo>
                <a:lnTo>
                  <a:pt x="3185815" y="113407"/>
                </a:lnTo>
                <a:lnTo>
                  <a:pt x="3182316" y="113407"/>
                </a:lnTo>
                <a:lnTo>
                  <a:pt x="3180210" y="113407"/>
                </a:lnTo>
                <a:cubicBezTo>
                  <a:pt x="3180210" y="113407"/>
                  <a:pt x="3180210" y="113407"/>
                  <a:pt x="3163716" y="113407"/>
                </a:cubicBezTo>
                <a:lnTo>
                  <a:pt x="3146643" y="113407"/>
                </a:lnTo>
                <a:lnTo>
                  <a:pt x="3124544" y="113407"/>
                </a:lnTo>
                <a:lnTo>
                  <a:pt x="3070360" y="113407"/>
                </a:lnTo>
                <a:lnTo>
                  <a:pt x="3048262" y="113407"/>
                </a:lnTo>
                <a:lnTo>
                  <a:pt x="3014437" y="113407"/>
                </a:lnTo>
                <a:lnTo>
                  <a:pt x="3011809" y="113407"/>
                </a:lnTo>
                <a:lnTo>
                  <a:pt x="3009746" y="113407"/>
                </a:lnTo>
                <a:lnTo>
                  <a:pt x="2996506" y="113407"/>
                </a:lnTo>
                <a:lnTo>
                  <a:pt x="2995315" y="113407"/>
                </a:lnTo>
                <a:lnTo>
                  <a:pt x="2992338" y="113407"/>
                </a:lnTo>
                <a:lnTo>
                  <a:pt x="2989710" y="113407"/>
                </a:lnTo>
                <a:lnTo>
                  <a:pt x="2987648" y="113407"/>
                </a:lnTo>
                <a:lnTo>
                  <a:pt x="2973216" y="113407"/>
                </a:lnTo>
                <a:lnTo>
                  <a:pt x="2956143" y="113407"/>
                </a:lnTo>
                <a:lnTo>
                  <a:pt x="2944597" y="113407"/>
                </a:lnTo>
                <a:lnTo>
                  <a:pt x="2934044" y="113407"/>
                </a:lnTo>
                <a:lnTo>
                  <a:pt x="2922498" y="113407"/>
                </a:lnTo>
                <a:lnTo>
                  <a:pt x="2879860" y="113407"/>
                </a:lnTo>
                <a:lnTo>
                  <a:pt x="2859294" y="113407"/>
                </a:lnTo>
                <a:lnTo>
                  <a:pt x="2857762" y="113407"/>
                </a:lnTo>
                <a:lnTo>
                  <a:pt x="2837195" y="113407"/>
                </a:lnTo>
                <a:lnTo>
                  <a:pt x="2823937" y="113407"/>
                </a:lnTo>
                <a:lnTo>
                  <a:pt x="2801838" y="113407"/>
                </a:lnTo>
                <a:lnTo>
                  <a:pt x="2756982" y="113407"/>
                </a:lnTo>
                <a:lnTo>
                  <a:pt x="2754097" y="113407"/>
                </a:lnTo>
                <a:lnTo>
                  <a:pt x="2734884" y="113407"/>
                </a:lnTo>
                <a:lnTo>
                  <a:pt x="2731998" y="113407"/>
                </a:lnTo>
                <a:lnTo>
                  <a:pt x="2668794" y="113407"/>
                </a:lnTo>
                <a:lnTo>
                  <a:pt x="2646695" y="113407"/>
                </a:lnTo>
                <a:lnTo>
                  <a:pt x="2636115" y="113407"/>
                </a:lnTo>
                <a:lnTo>
                  <a:pt x="2614017" y="113407"/>
                </a:lnTo>
                <a:lnTo>
                  <a:pt x="2566482" y="113407"/>
                </a:lnTo>
                <a:lnTo>
                  <a:pt x="2544384" y="113407"/>
                </a:lnTo>
                <a:lnTo>
                  <a:pt x="2495147" y="113407"/>
                </a:lnTo>
                <a:lnTo>
                  <a:pt x="2473049" y="113407"/>
                </a:lnTo>
                <a:lnTo>
                  <a:pt x="2445615" y="113407"/>
                </a:lnTo>
                <a:lnTo>
                  <a:pt x="2423517" y="113407"/>
                </a:lnTo>
                <a:lnTo>
                  <a:pt x="2332532" y="113407"/>
                </a:lnTo>
                <a:lnTo>
                  <a:pt x="2310433" y="113407"/>
                </a:lnTo>
                <a:lnTo>
                  <a:pt x="2304647" y="113407"/>
                </a:lnTo>
                <a:lnTo>
                  <a:pt x="2282549" y="113407"/>
                </a:lnTo>
                <a:lnTo>
                  <a:pt x="2146721" y="113407"/>
                </a:lnTo>
                <a:lnTo>
                  <a:pt x="2142032" y="113407"/>
                </a:lnTo>
                <a:lnTo>
                  <a:pt x="2139925" y="113407"/>
                </a:lnTo>
                <a:lnTo>
                  <a:pt x="2137864" y="113407"/>
                </a:lnTo>
                <a:lnTo>
                  <a:pt x="2124622" y="113407"/>
                </a:lnTo>
                <a:lnTo>
                  <a:pt x="2123432" y="113407"/>
                </a:lnTo>
                <a:lnTo>
                  <a:pt x="2119933" y="113407"/>
                </a:lnTo>
                <a:lnTo>
                  <a:pt x="2097049" y="113407"/>
                </a:lnTo>
                <a:cubicBezTo>
                  <a:pt x="2073661" y="113407"/>
                  <a:pt x="2037517" y="113407"/>
                  <a:pt x="1981658" y="113407"/>
                </a:cubicBezTo>
                <a:lnTo>
                  <a:pt x="1956221" y="113407"/>
                </a:lnTo>
                <a:lnTo>
                  <a:pt x="1949425" y="113407"/>
                </a:lnTo>
                <a:lnTo>
                  <a:pt x="1947364" y="113407"/>
                </a:lnTo>
                <a:lnTo>
                  <a:pt x="1934122" y="113407"/>
                </a:lnTo>
                <a:lnTo>
                  <a:pt x="1932932" y="113407"/>
                </a:lnTo>
                <a:lnTo>
                  <a:pt x="1906549" y="113407"/>
                </a:lnTo>
                <a:lnTo>
                  <a:pt x="1882214" y="113407"/>
                </a:lnTo>
                <a:lnTo>
                  <a:pt x="1861030" y="113407"/>
                </a:lnTo>
                <a:lnTo>
                  <a:pt x="1791158" y="113407"/>
                </a:lnTo>
                <a:lnTo>
                  <a:pt x="1747978" y="113407"/>
                </a:lnTo>
                <a:lnTo>
                  <a:pt x="1691714" y="113407"/>
                </a:lnTo>
                <a:lnTo>
                  <a:pt x="1573733" y="113407"/>
                </a:lnTo>
                <a:lnTo>
                  <a:pt x="1557478" y="113407"/>
                </a:lnTo>
                <a:lnTo>
                  <a:pt x="1383233" y="113407"/>
                </a:lnTo>
                <a:lnTo>
                  <a:pt x="1354259" y="113407"/>
                </a:lnTo>
                <a:lnTo>
                  <a:pt x="1163759" y="113407"/>
                </a:lnTo>
                <a:lnTo>
                  <a:pt x="1084338" y="113407"/>
                </a:lnTo>
                <a:lnTo>
                  <a:pt x="893838" y="113407"/>
                </a:lnTo>
                <a:cubicBezTo>
                  <a:pt x="820324" y="113407"/>
                  <a:pt x="727960" y="166215"/>
                  <a:pt x="690261" y="230339"/>
                </a:cubicBezTo>
                <a:cubicBezTo>
                  <a:pt x="690261" y="230339"/>
                  <a:pt x="690261" y="230339"/>
                  <a:pt x="162467" y="1145043"/>
                </a:cubicBezTo>
                <a:cubicBezTo>
                  <a:pt x="144559" y="1177105"/>
                  <a:pt x="135606" y="1219539"/>
                  <a:pt x="135606" y="1261974"/>
                </a:cubicBezTo>
                <a:close/>
                <a:moveTo>
                  <a:pt x="0" y="1261974"/>
                </a:moveTo>
                <a:cubicBezTo>
                  <a:pt x="0" y="1215349"/>
                  <a:pt x="9837" y="1168725"/>
                  <a:pt x="29513" y="1133497"/>
                </a:cubicBezTo>
                <a:cubicBezTo>
                  <a:pt x="609420" y="128477"/>
                  <a:pt x="609420" y="128477"/>
                  <a:pt x="609420" y="128477"/>
                </a:cubicBezTo>
                <a:cubicBezTo>
                  <a:pt x="650842" y="58022"/>
                  <a:pt x="752325" y="0"/>
                  <a:pt x="833098" y="0"/>
                </a:cubicBezTo>
                <a:cubicBezTo>
                  <a:pt x="1702959" y="0"/>
                  <a:pt x="1920424" y="0"/>
                  <a:pt x="1974790" y="0"/>
                </a:cubicBezTo>
                <a:lnTo>
                  <a:pt x="1976098" y="0"/>
                </a:lnTo>
                <a:lnTo>
                  <a:pt x="1990647" y="0"/>
                </a:lnTo>
                <a:lnTo>
                  <a:pt x="1992912" y="0"/>
                </a:lnTo>
                <a:lnTo>
                  <a:pt x="2000379" y="0"/>
                </a:lnTo>
                <a:lnTo>
                  <a:pt x="2180255" y="0"/>
                </a:lnTo>
                <a:lnTo>
                  <a:pt x="2204536" y="0"/>
                </a:lnTo>
                <a:lnTo>
                  <a:pt x="2358928" y="0"/>
                </a:lnTo>
                <a:lnTo>
                  <a:pt x="2383208" y="0"/>
                </a:lnTo>
                <a:lnTo>
                  <a:pt x="2513815" y="0"/>
                </a:lnTo>
                <a:lnTo>
                  <a:pt x="2538095" y="0"/>
                </a:lnTo>
                <a:lnTo>
                  <a:pt x="2646616" y="0"/>
                </a:lnTo>
                <a:lnTo>
                  <a:pt x="2670896" y="0"/>
                </a:lnTo>
                <a:lnTo>
                  <a:pt x="2759029" y="0"/>
                </a:lnTo>
                <a:lnTo>
                  <a:pt x="2783310" y="0"/>
                </a:lnTo>
                <a:lnTo>
                  <a:pt x="2852754" y="0"/>
                </a:lnTo>
                <a:lnTo>
                  <a:pt x="2877035" y="0"/>
                </a:lnTo>
                <a:lnTo>
                  <a:pt x="2929490" y="0"/>
                </a:lnTo>
                <a:lnTo>
                  <a:pt x="2953771" y="0"/>
                </a:lnTo>
                <a:lnTo>
                  <a:pt x="2990936" y="0"/>
                </a:lnTo>
                <a:lnTo>
                  <a:pt x="3015216" y="0"/>
                </a:lnTo>
                <a:lnTo>
                  <a:pt x="3074750" y="0"/>
                </a:lnTo>
                <a:lnTo>
                  <a:pt x="3099031" y="0"/>
                </a:lnTo>
                <a:lnTo>
                  <a:pt x="3117790" y="0"/>
                </a:lnTo>
                <a:cubicBezTo>
                  <a:pt x="3135912" y="0"/>
                  <a:pt x="3135912" y="0"/>
                  <a:pt x="3135912" y="0"/>
                </a:cubicBezTo>
                <a:lnTo>
                  <a:pt x="3142071" y="0"/>
                </a:lnTo>
                <a:lnTo>
                  <a:pt x="3143379" y="0"/>
                </a:lnTo>
                <a:lnTo>
                  <a:pt x="3157927" y="0"/>
                </a:lnTo>
                <a:lnTo>
                  <a:pt x="3160193" y="0"/>
                </a:lnTo>
                <a:lnTo>
                  <a:pt x="3347536" y="0"/>
                </a:lnTo>
                <a:cubicBezTo>
                  <a:pt x="4303193" y="0"/>
                  <a:pt x="4303193" y="0"/>
                  <a:pt x="4303193" y="0"/>
                </a:cubicBezTo>
                <a:cubicBezTo>
                  <a:pt x="4386037" y="0"/>
                  <a:pt x="4485449" y="58022"/>
                  <a:pt x="4526872" y="128477"/>
                </a:cubicBezTo>
                <a:cubicBezTo>
                  <a:pt x="5106779" y="1133497"/>
                  <a:pt x="5106779" y="1133497"/>
                  <a:pt x="5106779" y="1133497"/>
                </a:cubicBezTo>
                <a:cubicBezTo>
                  <a:pt x="5148200" y="1203952"/>
                  <a:pt x="5148200" y="1319996"/>
                  <a:pt x="5106779" y="1390451"/>
                </a:cubicBezTo>
                <a:cubicBezTo>
                  <a:pt x="4526872" y="2395471"/>
                  <a:pt x="4526872" y="2395471"/>
                  <a:pt x="4526872" y="2395471"/>
                </a:cubicBezTo>
                <a:cubicBezTo>
                  <a:pt x="4485449" y="2465926"/>
                  <a:pt x="4386037" y="2523948"/>
                  <a:pt x="4303193" y="2523948"/>
                </a:cubicBezTo>
                <a:lnTo>
                  <a:pt x="3160193" y="2523948"/>
                </a:lnTo>
                <a:lnTo>
                  <a:pt x="3143379" y="2523948"/>
                </a:lnTo>
                <a:lnTo>
                  <a:pt x="3135912" y="2523948"/>
                </a:lnTo>
                <a:lnTo>
                  <a:pt x="2000379" y="2523948"/>
                </a:lnTo>
                <a:lnTo>
                  <a:pt x="1992912" y="2523948"/>
                </a:lnTo>
                <a:lnTo>
                  <a:pt x="1976098" y="2523948"/>
                </a:lnTo>
                <a:lnTo>
                  <a:pt x="833098" y="2523948"/>
                </a:lnTo>
                <a:cubicBezTo>
                  <a:pt x="752325" y="2523948"/>
                  <a:pt x="650842" y="2465926"/>
                  <a:pt x="609420" y="2395471"/>
                </a:cubicBezTo>
                <a:cubicBezTo>
                  <a:pt x="29513" y="1390451"/>
                  <a:pt x="29513" y="1390451"/>
                  <a:pt x="29513" y="1390451"/>
                </a:cubicBezTo>
                <a:cubicBezTo>
                  <a:pt x="9837" y="1355223"/>
                  <a:pt x="0" y="1308599"/>
                  <a:pt x="0" y="1261974"/>
                </a:cubicBezTo>
                <a:close/>
              </a:path>
            </a:pathLst>
          </a:custGeom>
          <a:solidFill>
            <a:srgbClr val="02919F"/>
          </a:solidFill>
          <a:ln w="25400">
            <a:solidFill>
              <a:srgbClr val="02919F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 sz="2000">
              <a:solidFill>
                <a:prstClr val="black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191345" y="6277188"/>
            <a:ext cx="1188132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ЛЕКТРОНДЫҚ САТЫП АЛУДЫҢ АҚПАРАТТЫҚ ЖҮЙЕСІ ТЕХНИКАЛЫҚ ЕРЕКШЕЛІКТІ </a:t>
            </a: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ВТОМАТТЫ 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ҮРДЕ </a:t>
            </a: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ЛЫПТАСТЫРАДЫ</a:t>
            </a:r>
            <a:endParaRPr lang="ru-RU" sz="1600" b="1" dirty="0">
              <a:solidFill>
                <a:schemeClr val="tx1">
                  <a:lumMod val="65000"/>
                  <a:lumOff val="3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0" name="矩形 45"/>
          <p:cNvSpPr/>
          <p:nvPr/>
        </p:nvSpPr>
        <p:spPr>
          <a:xfrm>
            <a:off x="320810" y="1804995"/>
            <a:ext cx="1760195" cy="282464"/>
          </a:xfrm>
          <a:prstGeom prst="rect">
            <a:avLst/>
          </a:prstGeom>
          <a:solidFill>
            <a:srgbClr val="02919F"/>
          </a:solidFill>
          <a:ln>
            <a:solidFill>
              <a:srgbClr val="0291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1" name="矩形 45"/>
          <p:cNvSpPr/>
          <p:nvPr/>
        </p:nvSpPr>
        <p:spPr>
          <a:xfrm>
            <a:off x="2295851" y="1804995"/>
            <a:ext cx="1760195" cy="282464"/>
          </a:xfrm>
          <a:prstGeom prst="rect">
            <a:avLst/>
          </a:prstGeom>
          <a:solidFill>
            <a:srgbClr val="02919F"/>
          </a:solidFill>
          <a:ln>
            <a:solidFill>
              <a:srgbClr val="0291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2" name="矩形 45"/>
          <p:cNvSpPr/>
          <p:nvPr/>
        </p:nvSpPr>
        <p:spPr>
          <a:xfrm>
            <a:off x="4270892" y="1813480"/>
            <a:ext cx="1760195" cy="282464"/>
          </a:xfrm>
          <a:prstGeom prst="rect">
            <a:avLst/>
          </a:prstGeom>
          <a:solidFill>
            <a:srgbClr val="02919F"/>
          </a:solidFill>
          <a:ln>
            <a:solidFill>
              <a:srgbClr val="0291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3" name="矩形 45"/>
          <p:cNvSpPr/>
          <p:nvPr/>
        </p:nvSpPr>
        <p:spPr>
          <a:xfrm>
            <a:off x="6245933" y="1813480"/>
            <a:ext cx="1760195" cy="282464"/>
          </a:xfrm>
          <a:prstGeom prst="rect">
            <a:avLst/>
          </a:prstGeom>
          <a:solidFill>
            <a:srgbClr val="02919F"/>
          </a:solidFill>
          <a:ln>
            <a:solidFill>
              <a:srgbClr val="0291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4" name="矩形 45"/>
          <p:cNvSpPr/>
          <p:nvPr/>
        </p:nvSpPr>
        <p:spPr>
          <a:xfrm>
            <a:off x="8221995" y="1813480"/>
            <a:ext cx="1760195" cy="282464"/>
          </a:xfrm>
          <a:prstGeom prst="rect">
            <a:avLst/>
          </a:prstGeom>
          <a:solidFill>
            <a:srgbClr val="02919F"/>
          </a:solidFill>
          <a:ln>
            <a:solidFill>
              <a:srgbClr val="0291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5" name="矩形 45"/>
          <p:cNvSpPr/>
          <p:nvPr/>
        </p:nvSpPr>
        <p:spPr>
          <a:xfrm>
            <a:off x="10196017" y="1813480"/>
            <a:ext cx="1760195" cy="282464"/>
          </a:xfrm>
          <a:prstGeom prst="rect">
            <a:avLst/>
          </a:prstGeom>
          <a:solidFill>
            <a:srgbClr val="02919F"/>
          </a:solidFill>
          <a:ln>
            <a:solidFill>
              <a:srgbClr val="0291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6" name="矩形 45"/>
          <p:cNvSpPr/>
          <p:nvPr/>
        </p:nvSpPr>
        <p:spPr>
          <a:xfrm>
            <a:off x="320810" y="4226280"/>
            <a:ext cx="1760195" cy="282464"/>
          </a:xfrm>
          <a:prstGeom prst="rect">
            <a:avLst/>
          </a:prstGeom>
          <a:solidFill>
            <a:srgbClr val="02919F"/>
          </a:solidFill>
          <a:ln>
            <a:solidFill>
              <a:srgbClr val="0291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7" name="矩形 45"/>
          <p:cNvSpPr/>
          <p:nvPr/>
        </p:nvSpPr>
        <p:spPr>
          <a:xfrm>
            <a:off x="2295851" y="4226280"/>
            <a:ext cx="1760195" cy="282464"/>
          </a:xfrm>
          <a:prstGeom prst="rect">
            <a:avLst/>
          </a:prstGeom>
          <a:solidFill>
            <a:srgbClr val="02919F"/>
          </a:solidFill>
          <a:ln>
            <a:solidFill>
              <a:srgbClr val="0291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8" name="矩形 45"/>
          <p:cNvSpPr/>
          <p:nvPr/>
        </p:nvSpPr>
        <p:spPr>
          <a:xfrm>
            <a:off x="4270892" y="4226280"/>
            <a:ext cx="1760195" cy="282464"/>
          </a:xfrm>
          <a:prstGeom prst="rect">
            <a:avLst/>
          </a:prstGeom>
          <a:solidFill>
            <a:srgbClr val="02919F"/>
          </a:solidFill>
          <a:ln>
            <a:solidFill>
              <a:srgbClr val="0291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b="1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9" name="矩形 45"/>
          <p:cNvSpPr/>
          <p:nvPr/>
        </p:nvSpPr>
        <p:spPr>
          <a:xfrm>
            <a:off x="6245933" y="4249290"/>
            <a:ext cx="1760195" cy="282464"/>
          </a:xfrm>
          <a:prstGeom prst="rect">
            <a:avLst/>
          </a:prstGeom>
          <a:solidFill>
            <a:srgbClr val="02919F"/>
          </a:solidFill>
          <a:ln>
            <a:solidFill>
              <a:srgbClr val="0291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0" name="矩形 45"/>
          <p:cNvSpPr/>
          <p:nvPr/>
        </p:nvSpPr>
        <p:spPr>
          <a:xfrm>
            <a:off x="8230620" y="4249289"/>
            <a:ext cx="1760195" cy="442053"/>
          </a:xfrm>
          <a:prstGeom prst="rect">
            <a:avLst/>
          </a:prstGeom>
          <a:solidFill>
            <a:srgbClr val="02919F"/>
          </a:solidFill>
          <a:ln>
            <a:solidFill>
              <a:srgbClr val="0291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1" name="矩形 45"/>
          <p:cNvSpPr/>
          <p:nvPr/>
        </p:nvSpPr>
        <p:spPr>
          <a:xfrm>
            <a:off x="10205661" y="4247082"/>
            <a:ext cx="1760195" cy="444260"/>
          </a:xfrm>
          <a:prstGeom prst="rect">
            <a:avLst/>
          </a:prstGeom>
          <a:solidFill>
            <a:srgbClr val="02919F"/>
          </a:solidFill>
          <a:ln>
            <a:solidFill>
              <a:srgbClr val="0291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6" name="Прямоугольник 95"/>
          <p:cNvSpPr/>
          <p:nvPr/>
        </p:nvSpPr>
        <p:spPr>
          <a:xfrm>
            <a:off x="403444" y="1782580"/>
            <a:ext cx="15375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</a:t>
            </a:r>
            <a:r>
              <a:rPr lang="kk-KZ" sz="16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СІ</a:t>
            </a:r>
            <a:endParaRPr lang="ru-RU" sz="16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7" name="Прямоугольник 96"/>
          <p:cNvSpPr/>
          <p:nvPr/>
        </p:nvSpPr>
        <p:spPr>
          <a:xfrm>
            <a:off x="2407198" y="1770046"/>
            <a:ext cx="15375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ІШІНІ</a:t>
            </a:r>
            <a:endParaRPr lang="ru-RU" sz="16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8" name="Прямоугольник 97"/>
          <p:cNvSpPr/>
          <p:nvPr/>
        </p:nvSpPr>
        <p:spPr>
          <a:xfrm>
            <a:off x="432157" y="4203648"/>
            <a:ext cx="15375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РЕҢДІГІ</a:t>
            </a:r>
            <a:endParaRPr lang="ru-RU" sz="16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9" name="Прямоугольник 98"/>
          <p:cNvSpPr/>
          <p:nvPr/>
        </p:nvSpPr>
        <p:spPr>
          <a:xfrm>
            <a:off x="2438138" y="4197864"/>
            <a:ext cx="15375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ИІКТІГІ</a:t>
            </a:r>
            <a:endParaRPr lang="ru-RU" sz="16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0" name="Прямоугольник 99"/>
          <p:cNvSpPr/>
          <p:nvPr/>
        </p:nvSpPr>
        <p:spPr>
          <a:xfrm>
            <a:off x="4382239" y="4188604"/>
            <a:ext cx="15375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І</a:t>
            </a:r>
            <a:endParaRPr lang="ru-RU" sz="16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1" name="Прямоугольник 100"/>
          <p:cNvSpPr/>
          <p:nvPr/>
        </p:nvSpPr>
        <p:spPr>
          <a:xfrm>
            <a:off x="6357280" y="4208698"/>
            <a:ext cx="15375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ЛМАҒЫ</a:t>
            </a:r>
            <a:endParaRPr lang="ru-RU" sz="16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2" name="Прямоугольник 101"/>
          <p:cNvSpPr/>
          <p:nvPr/>
        </p:nvSpPr>
        <p:spPr>
          <a:xfrm>
            <a:off x="8332323" y="4254831"/>
            <a:ext cx="153750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АВИАТУРА СӨРЕСІНІҢ БОЛУЫ</a:t>
            </a:r>
            <a:endParaRPr lang="ru-RU" sz="105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3" name="Прямоугольник 102"/>
          <p:cNvSpPr/>
          <p:nvPr/>
        </p:nvSpPr>
        <p:spPr>
          <a:xfrm>
            <a:off x="10317008" y="4261463"/>
            <a:ext cx="153750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НТЕР </a:t>
            </a:r>
            <a:r>
              <a:rPr lang="ru-RU" sz="105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ӨРЕСІНІҢ БОЛУЫ</a:t>
            </a:r>
          </a:p>
        </p:txBody>
      </p:sp>
      <p:sp>
        <p:nvSpPr>
          <p:cNvPr id="104" name="Прямоугольник 103"/>
          <p:cNvSpPr/>
          <p:nvPr/>
        </p:nvSpPr>
        <p:spPr>
          <a:xfrm>
            <a:off x="4382239" y="1793281"/>
            <a:ext cx="15375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ҰРЫШЫ</a:t>
            </a:r>
            <a:endParaRPr lang="ru-RU" sz="16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05" name="Таблица 10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0874700"/>
              </p:ext>
            </p:extLst>
          </p:nvPr>
        </p:nvGraphicFramePr>
        <p:xfrm>
          <a:off x="478608" y="2248480"/>
          <a:ext cx="1444598" cy="9909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459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35457">
                <a:tc>
                  <a:txBody>
                    <a:bodyPr/>
                    <a:lstStyle/>
                    <a:p>
                      <a:pPr algn="ctr"/>
                      <a:r>
                        <a:rPr lang="ru-RU" sz="1400" b="1" i="0" dirty="0" err="1" smtClean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емен</a:t>
                      </a:r>
                      <a:r>
                        <a:rPr lang="ru-RU" sz="1400" b="1" i="0" dirty="0" smtClean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девон</a:t>
                      </a:r>
                      <a:endParaRPr lang="ru-RU" sz="1400" b="1" i="0" dirty="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rgbClr val="0291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50704">
                <a:tc>
                  <a:txBody>
                    <a:bodyPr/>
                    <a:lstStyle/>
                    <a:p>
                      <a:pPr algn="ctr"/>
                      <a:r>
                        <a:rPr lang="ru-RU" sz="1400" b="1" i="0" dirty="0" smtClean="0">
                          <a:solidFill>
                            <a:srgbClr val="173F59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венге</a:t>
                      </a:r>
                      <a:endParaRPr lang="ru-RU" sz="1400" b="1" i="0" dirty="0">
                        <a:solidFill>
                          <a:srgbClr val="173F59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90101">
                <a:tc>
                  <a:txBody>
                    <a:bodyPr/>
                    <a:lstStyle/>
                    <a:p>
                      <a:pPr algn="ctr"/>
                      <a:r>
                        <a:rPr lang="ru-RU" sz="1400" b="1" i="0" dirty="0" err="1" smtClean="0">
                          <a:solidFill>
                            <a:srgbClr val="173F59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ара</a:t>
                      </a:r>
                      <a:r>
                        <a:rPr lang="ru-RU" sz="1400" b="1" i="0" dirty="0" smtClean="0">
                          <a:solidFill>
                            <a:srgbClr val="173F59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400" b="1" i="0" dirty="0" err="1" smtClean="0">
                          <a:solidFill>
                            <a:srgbClr val="173F59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аңғақ</a:t>
                      </a:r>
                      <a:endParaRPr lang="ru-RU" sz="1400" b="1" i="0" dirty="0">
                        <a:solidFill>
                          <a:srgbClr val="173F59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6" name="Таблица 10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7838360"/>
              </p:ext>
            </p:extLst>
          </p:nvPr>
        </p:nvGraphicFramePr>
        <p:xfrm>
          <a:off x="2438138" y="2261607"/>
          <a:ext cx="1453722" cy="983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5372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22036">
                <a:tc>
                  <a:txBody>
                    <a:bodyPr/>
                    <a:lstStyle/>
                    <a:p>
                      <a:pPr algn="ctr"/>
                      <a:r>
                        <a:rPr lang="ru-RU" sz="1400" b="1" i="0" dirty="0" err="1" smtClean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ұрыштық</a:t>
                      </a:r>
                      <a:endParaRPr lang="ru-RU" sz="1400" b="1" i="0" dirty="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rgbClr val="0291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52706">
                <a:tc>
                  <a:txBody>
                    <a:bodyPr/>
                    <a:lstStyle/>
                    <a:p>
                      <a:pPr algn="ctr"/>
                      <a:r>
                        <a:rPr lang="ru-RU" sz="1400" b="1" i="0" dirty="0" err="1" smtClean="0">
                          <a:solidFill>
                            <a:srgbClr val="173F59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ікбұрышты</a:t>
                      </a:r>
                      <a:endParaRPr lang="ru-RU" sz="1400" b="1" i="0" dirty="0">
                        <a:solidFill>
                          <a:srgbClr val="173F59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09257">
                <a:tc>
                  <a:txBody>
                    <a:bodyPr/>
                    <a:lstStyle/>
                    <a:p>
                      <a:pPr algn="ctr"/>
                      <a:r>
                        <a:rPr lang="ru-RU" sz="1400" b="1" i="0" dirty="0" err="1" smtClean="0">
                          <a:solidFill>
                            <a:srgbClr val="173F59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опақ</a:t>
                      </a:r>
                      <a:endParaRPr lang="ru-RU" sz="1400" b="1" i="0" dirty="0">
                        <a:solidFill>
                          <a:srgbClr val="173F59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7" name="Таблица 10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4110930"/>
              </p:ext>
            </p:extLst>
          </p:nvPr>
        </p:nvGraphicFramePr>
        <p:xfrm>
          <a:off x="4416727" y="2264753"/>
          <a:ext cx="1451256" cy="9808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512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21619">
                <a:tc>
                  <a:txBody>
                    <a:bodyPr/>
                    <a:lstStyle/>
                    <a:p>
                      <a:pPr algn="ctr"/>
                      <a:r>
                        <a:rPr lang="kk-KZ" sz="1400" b="1" i="0" dirty="0" smtClean="0">
                          <a:solidFill>
                            <a:srgbClr val="173F59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ол</a:t>
                      </a:r>
                      <a:r>
                        <a:rPr lang="kk-KZ" sz="1400" b="1" i="0" baseline="0" dirty="0" smtClean="0">
                          <a:solidFill>
                            <a:srgbClr val="173F59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жағынан</a:t>
                      </a:r>
                      <a:endParaRPr lang="ru-RU" sz="1400" b="1" i="0" dirty="0">
                        <a:solidFill>
                          <a:srgbClr val="173F59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52249">
                <a:tc>
                  <a:txBody>
                    <a:bodyPr/>
                    <a:lstStyle/>
                    <a:p>
                      <a:pPr algn="ctr"/>
                      <a:r>
                        <a:rPr lang="ru-RU" sz="1400" b="1" i="0" dirty="0" err="1" smtClean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ң</a:t>
                      </a:r>
                      <a:r>
                        <a:rPr lang="ru-RU" sz="1400" b="1" i="0" baseline="0" dirty="0" smtClean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400" b="1" i="0" baseline="0" dirty="0" err="1" smtClean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ағынан</a:t>
                      </a:r>
                      <a:endParaRPr lang="ru-RU" sz="1400" b="1" i="0" dirty="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rgbClr val="0291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06986">
                <a:tc>
                  <a:txBody>
                    <a:bodyPr/>
                    <a:lstStyle/>
                    <a:p>
                      <a:pPr algn="ctr"/>
                      <a:r>
                        <a:rPr lang="ru-RU" sz="1400" b="1" i="0" dirty="0" err="1" smtClean="0">
                          <a:solidFill>
                            <a:srgbClr val="173F59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әмбебап</a:t>
                      </a:r>
                      <a:endParaRPr lang="ru-RU" sz="1400" b="1" i="0" dirty="0">
                        <a:solidFill>
                          <a:srgbClr val="173F59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8" name="Таблица 10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2852784"/>
              </p:ext>
            </p:extLst>
          </p:nvPr>
        </p:nvGraphicFramePr>
        <p:xfrm>
          <a:off x="6383548" y="2257060"/>
          <a:ext cx="1476727" cy="9971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672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26970">
                <a:tc>
                  <a:txBody>
                    <a:bodyPr/>
                    <a:lstStyle/>
                    <a:p>
                      <a:pPr algn="ctr"/>
                      <a:r>
                        <a:rPr lang="ru-RU" sz="1400" b="1" i="0" kern="1200" dirty="0" smtClean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ЛДСП</a:t>
                      </a:r>
                      <a:endParaRPr lang="ru-RU" sz="1400" b="1" i="0" kern="1200" dirty="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rgbClr val="0291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58110">
                <a:tc>
                  <a:txBody>
                    <a:bodyPr/>
                    <a:lstStyle/>
                    <a:p>
                      <a:pPr algn="ctr"/>
                      <a:r>
                        <a:rPr lang="ru-RU" sz="1400" b="1" i="0" kern="1200" dirty="0" smtClean="0">
                          <a:solidFill>
                            <a:srgbClr val="173F59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талл</a:t>
                      </a:r>
                      <a:endParaRPr lang="ru-RU" sz="1400" b="1" i="0" kern="1200" dirty="0">
                        <a:solidFill>
                          <a:srgbClr val="173F59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12094">
                <a:tc>
                  <a:txBody>
                    <a:bodyPr/>
                    <a:lstStyle/>
                    <a:p>
                      <a:pPr algn="ctr"/>
                      <a:r>
                        <a:rPr lang="ru-RU" sz="1400" b="1" i="0" kern="1200" dirty="0" smtClean="0">
                          <a:solidFill>
                            <a:srgbClr val="173F59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ДФ</a:t>
                      </a:r>
                      <a:endParaRPr lang="ru-RU" sz="1400" b="1" i="0" kern="1200" dirty="0">
                        <a:solidFill>
                          <a:srgbClr val="173F59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rgbClr val="FFE9C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09" name="Таблица 10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3059493"/>
              </p:ext>
            </p:extLst>
          </p:nvPr>
        </p:nvGraphicFramePr>
        <p:xfrm>
          <a:off x="8366827" y="2276274"/>
          <a:ext cx="1463858" cy="9952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385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26327">
                <a:tc>
                  <a:txBody>
                    <a:bodyPr/>
                    <a:lstStyle/>
                    <a:p>
                      <a:pPr algn="ctr"/>
                      <a:r>
                        <a:rPr lang="ru-RU" sz="1400" b="1" i="0" kern="1200" dirty="0" smtClean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ЛДСП</a:t>
                      </a:r>
                      <a:endParaRPr lang="ru-RU" sz="1400" b="1" i="0" kern="1200" dirty="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rgbClr val="0291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57406">
                <a:tc>
                  <a:txBody>
                    <a:bodyPr/>
                    <a:lstStyle/>
                    <a:p>
                      <a:pPr algn="ctr"/>
                      <a:r>
                        <a:rPr lang="ru-RU" sz="1400" b="1" i="0" kern="1200" dirty="0" smtClean="0">
                          <a:solidFill>
                            <a:srgbClr val="173F59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талл</a:t>
                      </a:r>
                      <a:endParaRPr lang="ru-RU" sz="1400" b="1" i="0" kern="1200" dirty="0">
                        <a:solidFill>
                          <a:srgbClr val="173F59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11480">
                <a:tc>
                  <a:txBody>
                    <a:bodyPr/>
                    <a:lstStyle/>
                    <a:p>
                      <a:pPr algn="ctr"/>
                      <a:r>
                        <a:rPr lang="ru-RU" sz="1400" b="1" i="0" kern="1200" dirty="0" smtClean="0">
                          <a:solidFill>
                            <a:srgbClr val="173F59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ДФ</a:t>
                      </a:r>
                      <a:endParaRPr lang="ru-RU" sz="1400" b="1" i="0" kern="1200" dirty="0">
                        <a:solidFill>
                          <a:srgbClr val="173F59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10" name="Таблица 10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2966825"/>
              </p:ext>
            </p:extLst>
          </p:nvPr>
        </p:nvGraphicFramePr>
        <p:xfrm>
          <a:off x="10386204" y="2276274"/>
          <a:ext cx="1406105" cy="9865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61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23498">
                <a:tc>
                  <a:txBody>
                    <a:bodyPr/>
                    <a:lstStyle/>
                    <a:p>
                      <a:pPr algn="ctr"/>
                      <a:r>
                        <a:rPr lang="ru-RU" sz="1400" b="1" i="0" dirty="0" smtClean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.8 см</a:t>
                      </a:r>
                      <a:endParaRPr lang="ru-RU" sz="1400" b="1" i="0" dirty="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rgbClr val="0291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54308">
                <a:tc>
                  <a:txBody>
                    <a:bodyPr/>
                    <a:lstStyle/>
                    <a:p>
                      <a:pPr algn="ctr"/>
                      <a:r>
                        <a:rPr lang="ru-RU" sz="1400" b="1" i="0" dirty="0" smtClean="0">
                          <a:solidFill>
                            <a:srgbClr val="173F59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.9 см</a:t>
                      </a:r>
                      <a:endParaRPr lang="ru-RU" sz="1400" b="1" i="0" dirty="0">
                        <a:solidFill>
                          <a:srgbClr val="173F59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08780">
                <a:tc>
                  <a:txBody>
                    <a:bodyPr/>
                    <a:lstStyle/>
                    <a:p>
                      <a:pPr algn="ctr"/>
                      <a:r>
                        <a:rPr lang="ru-RU" sz="1400" b="1" i="0" dirty="0" smtClean="0">
                          <a:solidFill>
                            <a:srgbClr val="173F59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 см</a:t>
                      </a:r>
                      <a:endParaRPr lang="ru-RU" sz="1400" b="1" i="0" dirty="0">
                        <a:solidFill>
                          <a:srgbClr val="173F59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111" name="Прямоугольник 110"/>
          <p:cNvSpPr/>
          <p:nvPr/>
        </p:nvSpPr>
        <p:spPr>
          <a:xfrm>
            <a:off x="6263454" y="1795463"/>
            <a:ext cx="172515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ГІЗ МАТЕРИАЛЫ</a:t>
            </a:r>
            <a:endParaRPr lang="ru-RU" sz="12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2" name="Прямоугольник 111"/>
          <p:cNvSpPr/>
          <p:nvPr/>
        </p:nvSpPr>
        <p:spPr>
          <a:xfrm>
            <a:off x="8148755" y="1806435"/>
            <a:ext cx="192392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СТЕЛДІҢ МАТЕРИАЛЫ</a:t>
            </a:r>
            <a:endParaRPr lang="ru-RU" sz="11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3" name="Прямоугольник 112"/>
          <p:cNvSpPr/>
          <p:nvPr/>
        </p:nvSpPr>
        <p:spPr>
          <a:xfrm>
            <a:off x="10126236" y="1806435"/>
            <a:ext cx="1911100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5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СТЕЛДІҢ </a:t>
            </a:r>
            <a:r>
              <a:rPr lang="ru-RU" sz="105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ЛЫҢДЫҒЫ</a:t>
            </a:r>
            <a:endParaRPr lang="ru-RU" sz="105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14" name="Таблица 1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6728193"/>
              </p:ext>
            </p:extLst>
          </p:nvPr>
        </p:nvGraphicFramePr>
        <p:xfrm>
          <a:off x="508960" y="4655669"/>
          <a:ext cx="1362972" cy="10829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297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54427">
                <a:tc>
                  <a:txBody>
                    <a:bodyPr/>
                    <a:lstStyle/>
                    <a:p>
                      <a:pPr algn="ctr"/>
                      <a:r>
                        <a:rPr lang="ru-RU" sz="1400" b="1" i="0" dirty="0" smtClean="0">
                          <a:solidFill>
                            <a:srgbClr val="173F59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80 см</a:t>
                      </a:r>
                      <a:endParaRPr lang="ru-RU" sz="1400" b="1" i="0" dirty="0">
                        <a:solidFill>
                          <a:srgbClr val="173F59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8818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dirty="0" smtClean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70 см</a:t>
                      </a:r>
                      <a:endParaRPr lang="ru-RU" sz="1400" b="1" i="0" dirty="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rgbClr val="0291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036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dirty="0" smtClean="0">
                          <a:solidFill>
                            <a:srgbClr val="173F59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60 см</a:t>
                      </a:r>
                      <a:endParaRPr lang="ru-RU" sz="1400" b="1" i="0" dirty="0">
                        <a:solidFill>
                          <a:srgbClr val="173F59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15" name="Таблица 1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188591"/>
              </p:ext>
            </p:extLst>
          </p:nvPr>
        </p:nvGraphicFramePr>
        <p:xfrm>
          <a:off x="2516854" y="4680119"/>
          <a:ext cx="1313689" cy="10757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368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67965">
                <a:tc>
                  <a:txBody>
                    <a:bodyPr/>
                    <a:lstStyle/>
                    <a:p>
                      <a:pPr algn="ctr"/>
                      <a:r>
                        <a:rPr lang="ru-RU" sz="1400" b="1" i="0" dirty="0" smtClean="0">
                          <a:solidFill>
                            <a:srgbClr val="173F59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0 см</a:t>
                      </a:r>
                      <a:endParaRPr lang="ru-RU" sz="1400" b="1" i="0" dirty="0">
                        <a:solidFill>
                          <a:srgbClr val="173F59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030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dirty="0" smtClean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5 см</a:t>
                      </a:r>
                      <a:endParaRPr lang="ru-RU" sz="1400" b="1" i="0" dirty="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rgbClr val="0291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5874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dirty="0" smtClean="0">
                          <a:solidFill>
                            <a:srgbClr val="173F59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0 см</a:t>
                      </a:r>
                      <a:endParaRPr lang="ru-RU" sz="1400" b="1" i="0" dirty="0">
                        <a:solidFill>
                          <a:srgbClr val="173F59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16" name="Таблица 1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1448804"/>
              </p:ext>
            </p:extLst>
          </p:nvPr>
        </p:nvGraphicFramePr>
        <p:xfrm>
          <a:off x="4468483" y="4711533"/>
          <a:ext cx="1369756" cy="10098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97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36618">
                <a:tc>
                  <a:txBody>
                    <a:bodyPr/>
                    <a:lstStyle/>
                    <a:p>
                      <a:pPr algn="ctr"/>
                      <a:r>
                        <a:rPr lang="ru-RU" sz="1400" b="1" i="0" dirty="0" smtClean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90 см</a:t>
                      </a:r>
                      <a:endParaRPr lang="ru-RU" sz="1400" b="1" i="0" dirty="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rgbClr val="0291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66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dirty="0" smtClean="0">
                          <a:solidFill>
                            <a:srgbClr val="173F59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80 см</a:t>
                      </a:r>
                      <a:endParaRPr lang="ru-RU" sz="1400" b="1" i="0" kern="1200" dirty="0">
                        <a:solidFill>
                          <a:srgbClr val="173F59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36618">
                <a:tc>
                  <a:txBody>
                    <a:bodyPr/>
                    <a:lstStyle/>
                    <a:p>
                      <a:pPr algn="ctr"/>
                      <a:r>
                        <a:rPr lang="ru-RU" sz="1400" b="1" i="0" kern="1200" dirty="0" smtClean="0">
                          <a:solidFill>
                            <a:srgbClr val="173F59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70 см</a:t>
                      </a:r>
                      <a:endParaRPr lang="ru-RU" sz="1400" b="1" i="0" kern="1200" dirty="0">
                        <a:solidFill>
                          <a:srgbClr val="173F59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17" name="Таблица 1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4373886"/>
              </p:ext>
            </p:extLst>
          </p:nvPr>
        </p:nvGraphicFramePr>
        <p:xfrm>
          <a:off x="6453996" y="4698055"/>
          <a:ext cx="1375452" cy="1031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545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38853">
                <a:tc>
                  <a:txBody>
                    <a:bodyPr/>
                    <a:lstStyle/>
                    <a:p>
                      <a:pPr algn="ctr"/>
                      <a:r>
                        <a:rPr lang="ru-RU" sz="1400" b="1" i="0" dirty="0" smtClean="0">
                          <a:solidFill>
                            <a:srgbClr val="173F59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9 кг</a:t>
                      </a:r>
                      <a:endParaRPr lang="ru-RU" sz="1400" b="1" i="0" dirty="0">
                        <a:solidFill>
                          <a:srgbClr val="173F59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54254">
                <a:tc>
                  <a:txBody>
                    <a:bodyPr/>
                    <a:lstStyle/>
                    <a:p>
                      <a:pPr algn="ctr"/>
                      <a:r>
                        <a:rPr lang="ru-RU" sz="1400" b="1" i="0" dirty="0" smtClean="0">
                          <a:solidFill>
                            <a:srgbClr val="173F59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3 кг</a:t>
                      </a:r>
                      <a:endParaRPr lang="ru-RU" sz="1400" b="1" i="0" dirty="0">
                        <a:solidFill>
                          <a:srgbClr val="173F59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38853">
                <a:tc>
                  <a:txBody>
                    <a:bodyPr/>
                    <a:lstStyle/>
                    <a:p>
                      <a:pPr algn="ctr"/>
                      <a:r>
                        <a:rPr lang="ru-RU" sz="1400" b="1" i="0" dirty="0" smtClean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5 кг</a:t>
                      </a:r>
                      <a:endParaRPr lang="ru-RU" sz="1400" b="1" i="0" dirty="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rgbClr val="0291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18" name="Таблица 1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4433476"/>
              </p:ext>
            </p:extLst>
          </p:nvPr>
        </p:nvGraphicFramePr>
        <p:xfrm>
          <a:off x="8410753" y="4829693"/>
          <a:ext cx="1394054" cy="7496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405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48270">
                <a:tc>
                  <a:txBody>
                    <a:bodyPr/>
                    <a:lstStyle/>
                    <a:p>
                      <a:pPr algn="ctr"/>
                      <a:r>
                        <a:rPr lang="ru-RU" sz="1400" b="1" i="0" dirty="0" err="1" smtClean="0">
                          <a:solidFill>
                            <a:srgbClr val="173F59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ә</a:t>
                      </a:r>
                      <a:endParaRPr lang="ru-RU" sz="1400" b="1" i="0" dirty="0">
                        <a:solidFill>
                          <a:srgbClr val="173F59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01414">
                <a:tc>
                  <a:txBody>
                    <a:bodyPr/>
                    <a:lstStyle/>
                    <a:p>
                      <a:pPr algn="ctr"/>
                      <a:r>
                        <a:rPr lang="ru-RU" sz="1400" b="1" i="0" dirty="0" err="1" smtClean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оқ</a:t>
                      </a:r>
                      <a:endParaRPr lang="ru-RU" sz="1400" b="1" i="0" dirty="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rgbClr val="0291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19" name="Таблица 1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4094269"/>
              </p:ext>
            </p:extLst>
          </p:nvPr>
        </p:nvGraphicFramePr>
        <p:xfrm>
          <a:off x="10412081" y="4824239"/>
          <a:ext cx="1380227" cy="7936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022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414561">
                <a:tc>
                  <a:txBody>
                    <a:bodyPr/>
                    <a:lstStyle/>
                    <a:p>
                      <a:pPr algn="ctr"/>
                      <a:r>
                        <a:rPr lang="ru-RU" sz="1400" b="1" i="0" dirty="0" err="1" smtClean="0">
                          <a:solidFill>
                            <a:srgbClr val="173F59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ә</a:t>
                      </a:r>
                      <a:endParaRPr lang="ru-RU" sz="1400" b="1" i="0" dirty="0">
                        <a:solidFill>
                          <a:srgbClr val="173F59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9070">
                <a:tc>
                  <a:txBody>
                    <a:bodyPr/>
                    <a:lstStyle/>
                    <a:p>
                      <a:pPr algn="ctr"/>
                      <a:r>
                        <a:rPr lang="ru-RU" sz="1400" b="1" i="0" dirty="0" err="1" smtClean="0">
                          <a:solidFill>
                            <a:schemeClr val="bg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оқ</a:t>
                      </a:r>
                      <a:endParaRPr lang="ru-RU" sz="1400" b="1" i="0" dirty="0">
                        <a:solidFill>
                          <a:schemeClr val="bg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anchor="ctr">
                    <a:solidFill>
                      <a:srgbClr val="0291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20" name="Нашивка 110"/>
          <p:cNvSpPr/>
          <p:nvPr/>
        </p:nvSpPr>
        <p:spPr>
          <a:xfrm rot="5400000">
            <a:off x="467100" y="2336993"/>
            <a:ext cx="194113" cy="166932"/>
          </a:xfrm>
          <a:prstGeom prst="chevron">
            <a:avLst>
              <a:gd name="adj" fmla="val 73077"/>
            </a:avLst>
          </a:prstGeom>
          <a:solidFill>
            <a:srgbClr val="02919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1" name="Нашивка 111"/>
          <p:cNvSpPr/>
          <p:nvPr/>
        </p:nvSpPr>
        <p:spPr>
          <a:xfrm rot="5400000">
            <a:off x="2452732" y="2336164"/>
            <a:ext cx="194113" cy="166932"/>
          </a:xfrm>
          <a:prstGeom prst="chevron">
            <a:avLst>
              <a:gd name="adj" fmla="val 73077"/>
            </a:avLst>
          </a:prstGeom>
          <a:solidFill>
            <a:srgbClr val="02919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2" name="Нашивка 112"/>
          <p:cNvSpPr/>
          <p:nvPr/>
        </p:nvSpPr>
        <p:spPr>
          <a:xfrm rot="5400000">
            <a:off x="4403309" y="2697032"/>
            <a:ext cx="194113" cy="166932"/>
          </a:xfrm>
          <a:prstGeom prst="chevron">
            <a:avLst>
              <a:gd name="adj" fmla="val 73077"/>
            </a:avLst>
          </a:prstGeom>
          <a:solidFill>
            <a:srgbClr val="02919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3" name="Нашивка 168"/>
          <p:cNvSpPr/>
          <p:nvPr/>
        </p:nvSpPr>
        <p:spPr>
          <a:xfrm rot="5400000">
            <a:off x="6537047" y="2333549"/>
            <a:ext cx="194113" cy="166932"/>
          </a:xfrm>
          <a:prstGeom prst="chevron">
            <a:avLst>
              <a:gd name="adj" fmla="val 73077"/>
            </a:avLst>
          </a:prstGeom>
          <a:solidFill>
            <a:srgbClr val="02919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4" name="Нашивка 169"/>
          <p:cNvSpPr/>
          <p:nvPr/>
        </p:nvSpPr>
        <p:spPr>
          <a:xfrm rot="5400000">
            <a:off x="8500062" y="2364835"/>
            <a:ext cx="194113" cy="166932"/>
          </a:xfrm>
          <a:prstGeom prst="chevron">
            <a:avLst>
              <a:gd name="adj" fmla="val 73077"/>
            </a:avLst>
          </a:prstGeom>
          <a:solidFill>
            <a:srgbClr val="02919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5" name="Нашивка 170"/>
          <p:cNvSpPr/>
          <p:nvPr/>
        </p:nvSpPr>
        <p:spPr>
          <a:xfrm rot="5400000">
            <a:off x="10481118" y="2349177"/>
            <a:ext cx="194113" cy="166932"/>
          </a:xfrm>
          <a:prstGeom prst="chevron">
            <a:avLst>
              <a:gd name="adj" fmla="val 73077"/>
            </a:avLst>
          </a:prstGeom>
          <a:solidFill>
            <a:srgbClr val="02919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6" name="Нашивка 171"/>
          <p:cNvSpPr/>
          <p:nvPr/>
        </p:nvSpPr>
        <p:spPr>
          <a:xfrm rot="5400000">
            <a:off x="593056" y="5137400"/>
            <a:ext cx="194113" cy="166932"/>
          </a:xfrm>
          <a:prstGeom prst="chevron">
            <a:avLst>
              <a:gd name="adj" fmla="val 73077"/>
            </a:avLst>
          </a:prstGeom>
          <a:solidFill>
            <a:srgbClr val="02919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7" name="Нашивка 172"/>
          <p:cNvSpPr/>
          <p:nvPr/>
        </p:nvSpPr>
        <p:spPr>
          <a:xfrm rot="5400000">
            <a:off x="2588817" y="5166432"/>
            <a:ext cx="194113" cy="166932"/>
          </a:xfrm>
          <a:prstGeom prst="chevron">
            <a:avLst>
              <a:gd name="adj" fmla="val 73077"/>
            </a:avLst>
          </a:prstGeom>
          <a:solidFill>
            <a:srgbClr val="02919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8" name="Нашивка 173"/>
          <p:cNvSpPr/>
          <p:nvPr/>
        </p:nvSpPr>
        <p:spPr>
          <a:xfrm rot="5400000">
            <a:off x="4526626" y="4809797"/>
            <a:ext cx="194113" cy="166932"/>
          </a:xfrm>
          <a:prstGeom prst="chevron">
            <a:avLst>
              <a:gd name="adj" fmla="val 73077"/>
            </a:avLst>
          </a:prstGeom>
          <a:solidFill>
            <a:srgbClr val="02919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9" name="Нашивка 174"/>
          <p:cNvSpPr/>
          <p:nvPr/>
        </p:nvSpPr>
        <p:spPr>
          <a:xfrm rot="5400000">
            <a:off x="6540080" y="5471348"/>
            <a:ext cx="194113" cy="166932"/>
          </a:xfrm>
          <a:prstGeom prst="chevron">
            <a:avLst>
              <a:gd name="adj" fmla="val 73077"/>
            </a:avLst>
          </a:prstGeom>
          <a:solidFill>
            <a:srgbClr val="02919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0" name="Нашивка 175"/>
          <p:cNvSpPr/>
          <p:nvPr/>
        </p:nvSpPr>
        <p:spPr>
          <a:xfrm rot="5400000">
            <a:off x="8531787" y="5320008"/>
            <a:ext cx="194113" cy="166932"/>
          </a:xfrm>
          <a:prstGeom prst="chevron">
            <a:avLst>
              <a:gd name="adj" fmla="val 73077"/>
            </a:avLst>
          </a:prstGeom>
          <a:solidFill>
            <a:srgbClr val="02919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1" name="Нашивка 176"/>
          <p:cNvSpPr/>
          <p:nvPr/>
        </p:nvSpPr>
        <p:spPr>
          <a:xfrm rot="5400000">
            <a:off x="10564584" y="5352000"/>
            <a:ext cx="194113" cy="166932"/>
          </a:xfrm>
          <a:prstGeom prst="chevron">
            <a:avLst>
              <a:gd name="adj" fmla="val 73077"/>
            </a:avLst>
          </a:prstGeom>
          <a:solidFill>
            <a:srgbClr val="02919F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0759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3" name="Прямая соединительная линия 142"/>
          <p:cNvCxnSpPr/>
          <p:nvPr/>
        </p:nvCxnSpPr>
        <p:spPr>
          <a:xfrm>
            <a:off x="3028231" y="774229"/>
            <a:ext cx="0" cy="6093296"/>
          </a:xfrm>
          <a:prstGeom prst="line">
            <a:avLst/>
          </a:prstGeom>
          <a:ln w="12700">
            <a:solidFill>
              <a:schemeClr val="accent1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Прямая соединительная линия 141"/>
          <p:cNvCxnSpPr/>
          <p:nvPr/>
        </p:nvCxnSpPr>
        <p:spPr>
          <a:xfrm>
            <a:off x="1828478" y="774229"/>
            <a:ext cx="0" cy="6093296"/>
          </a:xfrm>
          <a:prstGeom prst="line">
            <a:avLst/>
          </a:prstGeom>
          <a:ln w="12700">
            <a:solidFill>
              <a:schemeClr val="accent1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Скругленный прямоугольник 75"/>
          <p:cNvSpPr/>
          <p:nvPr/>
        </p:nvSpPr>
        <p:spPr>
          <a:xfrm>
            <a:off x="551384" y="1162566"/>
            <a:ext cx="1224136" cy="936104"/>
          </a:xfrm>
          <a:prstGeom prst="roundRect">
            <a:avLst/>
          </a:prstGeom>
          <a:solidFill>
            <a:schemeClr val="accent2">
              <a:alpha val="41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033885" y="332656"/>
            <a:ext cx="1124278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k-KZ" sz="2400" b="1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ЗЕНТАЦИЯ МАЗМҰНЫ</a:t>
            </a:r>
            <a:endParaRPr kumimoji="0" lang="ru-RU" sz="20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3071663" y="1162566"/>
            <a:ext cx="8485339" cy="936104"/>
          </a:xfrm>
          <a:prstGeom prst="roundRect">
            <a:avLst/>
          </a:prstGeom>
          <a:solidFill>
            <a:schemeClr val="accent2">
              <a:alpha val="41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" name="Овал 2"/>
          <p:cNvSpPr/>
          <p:nvPr/>
        </p:nvSpPr>
        <p:spPr>
          <a:xfrm>
            <a:off x="2806544" y="1414857"/>
            <a:ext cx="458233" cy="458233"/>
          </a:xfrm>
          <a:prstGeom prst="ellipse">
            <a:avLst/>
          </a:prstGeom>
          <a:solidFill>
            <a:schemeClr val="bg1"/>
          </a:solidFill>
          <a:ln w="19050">
            <a:solidFill>
              <a:srgbClr val="173F5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3" name="Овал 62"/>
          <p:cNvSpPr/>
          <p:nvPr/>
        </p:nvSpPr>
        <p:spPr>
          <a:xfrm>
            <a:off x="2906330" y="1514643"/>
            <a:ext cx="258660" cy="258660"/>
          </a:xfrm>
          <a:prstGeom prst="ellipse">
            <a:avLst/>
          </a:prstGeom>
          <a:solidFill>
            <a:srgbClr val="173F59"/>
          </a:solidFill>
          <a:ln w="19050">
            <a:solidFill>
              <a:srgbClr val="173F5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339689" y="1179868"/>
            <a:ext cx="35141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kern="0" dirty="0">
                <a:solidFill>
                  <a:srgbClr val="173F5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ФТЕЙК-КЕЛІСІМШАРТТАР</a:t>
            </a:r>
            <a:endParaRPr lang="ru-RU" dirty="0">
              <a:solidFill>
                <a:srgbClr val="173F5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3339689" y="1490207"/>
            <a:ext cx="786887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sz="1600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мұрық-Қазына Қорының </a:t>
            </a:r>
            <a:r>
              <a:rPr lang="kk-KZ" sz="1600" kern="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ңа өндірістерді құруға жәрдемдесу </a:t>
            </a:r>
            <a:r>
              <a:rPr lang="ru-RU" sz="1600" kern="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1600" kern="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мпортты</a:t>
            </a:r>
            <a:r>
              <a:rPr lang="ru-RU" sz="1600" kern="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kern="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мастыру</a:t>
            </a:r>
            <a:r>
              <a:rPr lang="ru-RU" sz="1600" kern="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r>
              <a:rPr lang="kk-KZ" sz="1600" kern="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бағдарламасы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4" name="Овал 73"/>
          <p:cNvSpPr/>
          <p:nvPr/>
        </p:nvSpPr>
        <p:spPr>
          <a:xfrm>
            <a:off x="1603726" y="1414857"/>
            <a:ext cx="458233" cy="458233"/>
          </a:xfrm>
          <a:prstGeom prst="ellipse">
            <a:avLst/>
          </a:prstGeom>
          <a:solidFill>
            <a:schemeClr val="bg1"/>
          </a:solidFill>
          <a:ln w="19050">
            <a:solidFill>
              <a:srgbClr val="173F5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5" name="Овал 74"/>
          <p:cNvSpPr/>
          <p:nvPr/>
        </p:nvSpPr>
        <p:spPr>
          <a:xfrm>
            <a:off x="1703512" y="1514643"/>
            <a:ext cx="258660" cy="258660"/>
          </a:xfrm>
          <a:prstGeom prst="ellipse">
            <a:avLst/>
          </a:prstGeom>
          <a:solidFill>
            <a:srgbClr val="173F59"/>
          </a:solidFill>
          <a:ln w="19050">
            <a:solidFill>
              <a:srgbClr val="173F5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7" name="Прямоугольник 76"/>
          <p:cNvSpPr/>
          <p:nvPr/>
        </p:nvSpPr>
        <p:spPr>
          <a:xfrm>
            <a:off x="909993" y="1265111"/>
            <a:ext cx="511679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k-KZ" sz="4000" b="1" kern="0" dirty="0">
                <a:solidFill>
                  <a:srgbClr val="173F5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  <a:endParaRPr lang="ru-RU" sz="4000" dirty="0">
              <a:solidFill>
                <a:srgbClr val="173F5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8" name="Прямая соединительная линия 7"/>
          <p:cNvCxnSpPr>
            <a:stCxn id="74" idx="6"/>
            <a:endCxn id="3" idx="2"/>
          </p:cNvCxnSpPr>
          <p:nvPr/>
        </p:nvCxnSpPr>
        <p:spPr>
          <a:xfrm>
            <a:off x="2061959" y="1643974"/>
            <a:ext cx="744585" cy="0"/>
          </a:xfrm>
          <a:prstGeom prst="line">
            <a:avLst/>
          </a:prstGeom>
          <a:ln w="12700">
            <a:solidFill>
              <a:schemeClr val="accent1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Скругленный прямоугольник 77"/>
          <p:cNvSpPr/>
          <p:nvPr/>
        </p:nvSpPr>
        <p:spPr>
          <a:xfrm>
            <a:off x="551384" y="2574391"/>
            <a:ext cx="1224136" cy="936104"/>
          </a:xfrm>
          <a:prstGeom prst="roundRect">
            <a:avLst/>
          </a:prstGeom>
          <a:solidFill>
            <a:schemeClr val="accent2">
              <a:alpha val="41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9" name="Скругленный прямоугольник 78"/>
          <p:cNvSpPr/>
          <p:nvPr/>
        </p:nvSpPr>
        <p:spPr>
          <a:xfrm>
            <a:off x="3071663" y="2574391"/>
            <a:ext cx="8485339" cy="936104"/>
          </a:xfrm>
          <a:prstGeom prst="roundRect">
            <a:avLst/>
          </a:prstGeom>
          <a:solidFill>
            <a:schemeClr val="accent2">
              <a:alpha val="41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0" name="Овал 79"/>
          <p:cNvSpPr/>
          <p:nvPr/>
        </p:nvSpPr>
        <p:spPr>
          <a:xfrm>
            <a:off x="2806544" y="2826682"/>
            <a:ext cx="458233" cy="458233"/>
          </a:xfrm>
          <a:prstGeom prst="ellipse">
            <a:avLst/>
          </a:prstGeom>
          <a:solidFill>
            <a:schemeClr val="bg1"/>
          </a:solidFill>
          <a:ln w="19050">
            <a:solidFill>
              <a:srgbClr val="1B689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2" name="Овал 81"/>
          <p:cNvSpPr/>
          <p:nvPr/>
        </p:nvSpPr>
        <p:spPr>
          <a:xfrm>
            <a:off x="2906330" y="2926468"/>
            <a:ext cx="258660" cy="258660"/>
          </a:xfrm>
          <a:prstGeom prst="ellipse">
            <a:avLst/>
          </a:prstGeom>
          <a:solidFill>
            <a:srgbClr val="1B6893"/>
          </a:solidFill>
          <a:ln w="19050">
            <a:solidFill>
              <a:srgbClr val="1B689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2" name="Прямоугольник 101"/>
          <p:cNvSpPr/>
          <p:nvPr/>
        </p:nvSpPr>
        <p:spPr>
          <a:xfrm>
            <a:off x="3339689" y="2705512"/>
            <a:ext cx="82173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kern="0" dirty="0" smtClean="0">
                <a:solidFill>
                  <a:srgbClr val="1B689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УАР ӨНДІРУШІЛЕР </a:t>
            </a:r>
            <a:r>
              <a:rPr lang="ru-RU" b="1" kern="0" dirty="0">
                <a:solidFill>
                  <a:srgbClr val="1B689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Н МҮГЕДЕКТЕР </a:t>
            </a:r>
            <a:r>
              <a:rPr lang="ru-RU" b="1" kern="0" dirty="0" smtClean="0">
                <a:solidFill>
                  <a:srgbClr val="1B689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ҰЙЫМДАРЫ </a:t>
            </a:r>
            <a:r>
              <a:rPr lang="ru-RU" b="1" kern="0" dirty="0">
                <a:solidFill>
                  <a:srgbClr val="1B689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ІЗІЛІМДЕРІ</a:t>
            </a:r>
          </a:p>
        </p:txBody>
      </p:sp>
      <p:sp>
        <p:nvSpPr>
          <p:cNvPr id="103" name="Прямоугольник 102"/>
          <p:cNvSpPr/>
          <p:nvPr/>
        </p:nvSpPr>
        <p:spPr>
          <a:xfrm>
            <a:off x="3339689" y="3015851"/>
            <a:ext cx="786887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sz="1600" kern="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мұрық-Қазына сатып алуларында басымдық берілетін тізілімдер </a:t>
            </a:r>
            <a:r>
              <a:rPr lang="ru-RU" sz="1600" kern="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1600" kern="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естрлер</a:t>
            </a:r>
            <a:r>
              <a:rPr lang="ru-RU" sz="1600" kern="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5" name="Овал 104"/>
          <p:cNvSpPr/>
          <p:nvPr/>
        </p:nvSpPr>
        <p:spPr>
          <a:xfrm>
            <a:off x="1603726" y="2826682"/>
            <a:ext cx="458233" cy="458233"/>
          </a:xfrm>
          <a:prstGeom prst="ellipse">
            <a:avLst/>
          </a:prstGeom>
          <a:solidFill>
            <a:schemeClr val="bg1"/>
          </a:solidFill>
          <a:ln w="19050">
            <a:solidFill>
              <a:srgbClr val="1B689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7" name="Овал 106"/>
          <p:cNvSpPr/>
          <p:nvPr/>
        </p:nvSpPr>
        <p:spPr>
          <a:xfrm>
            <a:off x="1703512" y="2926468"/>
            <a:ext cx="258660" cy="258660"/>
          </a:xfrm>
          <a:prstGeom prst="ellipse">
            <a:avLst/>
          </a:prstGeom>
          <a:solidFill>
            <a:srgbClr val="1B6893"/>
          </a:solidFill>
          <a:ln w="19050">
            <a:solidFill>
              <a:srgbClr val="1B689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8" name="Прямоугольник 107"/>
          <p:cNvSpPr/>
          <p:nvPr/>
        </p:nvSpPr>
        <p:spPr>
          <a:xfrm>
            <a:off x="909993" y="2676936"/>
            <a:ext cx="511679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k-KZ" sz="4000" b="1" kern="0" dirty="0" smtClean="0">
                <a:solidFill>
                  <a:srgbClr val="1B689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endParaRPr lang="ru-RU" sz="4000" dirty="0">
              <a:solidFill>
                <a:srgbClr val="1B6893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09" name="Прямая соединительная линия 108"/>
          <p:cNvCxnSpPr>
            <a:stCxn id="105" idx="6"/>
            <a:endCxn id="80" idx="2"/>
          </p:cNvCxnSpPr>
          <p:nvPr/>
        </p:nvCxnSpPr>
        <p:spPr>
          <a:xfrm>
            <a:off x="2061959" y="3055799"/>
            <a:ext cx="744585" cy="0"/>
          </a:xfrm>
          <a:prstGeom prst="line">
            <a:avLst/>
          </a:prstGeom>
          <a:ln w="127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Скругленный прямоугольник 109"/>
          <p:cNvSpPr/>
          <p:nvPr/>
        </p:nvSpPr>
        <p:spPr>
          <a:xfrm>
            <a:off x="551384" y="3934704"/>
            <a:ext cx="1224136" cy="936104"/>
          </a:xfrm>
          <a:prstGeom prst="roundRect">
            <a:avLst/>
          </a:prstGeom>
          <a:solidFill>
            <a:schemeClr val="accent2">
              <a:alpha val="41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1" name="Скругленный прямоугольник 110"/>
          <p:cNvSpPr/>
          <p:nvPr/>
        </p:nvSpPr>
        <p:spPr>
          <a:xfrm>
            <a:off x="3071663" y="3934704"/>
            <a:ext cx="8485339" cy="936104"/>
          </a:xfrm>
          <a:prstGeom prst="roundRect">
            <a:avLst/>
          </a:prstGeom>
          <a:solidFill>
            <a:schemeClr val="accent2">
              <a:alpha val="41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2" name="Овал 111"/>
          <p:cNvSpPr/>
          <p:nvPr/>
        </p:nvSpPr>
        <p:spPr>
          <a:xfrm>
            <a:off x="2806544" y="4186995"/>
            <a:ext cx="458233" cy="458233"/>
          </a:xfrm>
          <a:prstGeom prst="ellipse">
            <a:avLst/>
          </a:prstGeom>
          <a:solidFill>
            <a:schemeClr val="bg1"/>
          </a:solidFill>
          <a:ln w="19050">
            <a:solidFill>
              <a:srgbClr val="1C7CBB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3" name="Овал 112"/>
          <p:cNvSpPr/>
          <p:nvPr/>
        </p:nvSpPr>
        <p:spPr>
          <a:xfrm>
            <a:off x="2906330" y="4286781"/>
            <a:ext cx="258660" cy="258660"/>
          </a:xfrm>
          <a:prstGeom prst="ellipse">
            <a:avLst/>
          </a:prstGeom>
          <a:solidFill>
            <a:srgbClr val="1C7CBB"/>
          </a:solidFill>
          <a:ln w="19050">
            <a:solidFill>
              <a:srgbClr val="1C7CBB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4" name="Прямоугольник 113"/>
          <p:cNvSpPr/>
          <p:nvPr/>
        </p:nvSpPr>
        <p:spPr>
          <a:xfrm>
            <a:off x="3339689" y="3936522"/>
            <a:ext cx="499527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kern="0" dirty="0" smtClean="0">
                <a:solidFill>
                  <a:srgbClr val="1C7CB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ДЫН АЛА БІЛІКТІЛІК ІРІКТЕУ (ПКО)</a:t>
            </a:r>
            <a:endParaRPr lang="ru-RU" b="1" kern="0" dirty="0">
              <a:solidFill>
                <a:srgbClr val="1C7CBB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3339689" y="4246861"/>
            <a:ext cx="801289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sz="1600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леуетті жеткізушілердің </a:t>
            </a:r>
            <a:r>
              <a:rPr lang="kk-KZ" sz="1600" kern="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мұрық-Қазынаңың біліктілік </a:t>
            </a:r>
            <a:r>
              <a:rPr lang="kk-KZ" sz="1600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лаптарына </a:t>
            </a:r>
            <a:r>
              <a:rPr lang="kk-KZ" sz="1600" kern="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әйкестігін бағалау </a:t>
            </a:r>
            <a:r>
              <a:rPr lang="kk-KZ" sz="1600" kern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әсімі</a:t>
            </a:r>
          </a:p>
        </p:txBody>
      </p:sp>
      <p:sp>
        <p:nvSpPr>
          <p:cNvPr id="116" name="Овал 115"/>
          <p:cNvSpPr/>
          <p:nvPr/>
        </p:nvSpPr>
        <p:spPr>
          <a:xfrm>
            <a:off x="1603726" y="4186995"/>
            <a:ext cx="458233" cy="458233"/>
          </a:xfrm>
          <a:prstGeom prst="ellipse">
            <a:avLst/>
          </a:prstGeom>
          <a:solidFill>
            <a:schemeClr val="bg1"/>
          </a:solidFill>
          <a:ln w="19050">
            <a:solidFill>
              <a:srgbClr val="1C7CBB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9" name="Овал 128"/>
          <p:cNvSpPr/>
          <p:nvPr/>
        </p:nvSpPr>
        <p:spPr>
          <a:xfrm>
            <a:off x="1703512" y="4286781"/>
            <a:ext cx="258660" cy="258660"/>
          </a:xfrm>
          <a:prstGeom prst="ellipse">
            <a:avLst/>
          </a:prstGeom>
          <a:solidFill>
            <a:srgbClr val="1C7CBB"/>
          </a:solidFill>
          <a:ln w="19050">
            <a:solidFill>
              <a:srgbClr val="1C7CBB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0" name="Прямоугольник 129"/>
          <p:cNvSpPr/>
          <p:nvPr/>
        </p:nvSpPr>
        <p:spPr>
          <a:xfrm>
            <a:off x="909993" y="4037249"/>
            <a:ext cx="511679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k-KZ" sz="4000" b="1" kern="0" dirty="0" smtClean="0">
                <a:solidFill>
                  <a:srgbClr val="1C7CB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endParaRPr lang="ru-RU" sz="4000" dirty="0">
              <a:solidFill>
                <a:srgbClr val="1C7CBB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31" name="Прямая соединительная линия 130"/>
          <p:cNvCxnSpPr>
            <a:stCxn id="116" idx="6"/>
            <a:endCxn id="112" idx="2"/>
          </p:cNvCxnSpPr>
          <p:nvPr/>
        </p:nvCxnSpPr>
        <p:spPr>
          <a:xfrm>
            <a:off x="2061959" y="4416112"/>
            <a:ext cx="744585" cy="0"/>
          </a:xfrm>
          <a:prstGeom prst="line">
            <a:avLst/>
          </a:prstGeom>
          <a:ln w="12700">
            <a:solidFill>
              <a:schemeClr val="accent1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Скругленный прямоугольник 131"/>
          <p:cNvSpPr/>
          <p:nvPr/>
        </p:nvSpPr>
        <p:spPr>
          <a:xfrm>
            <a:off x="551384" y="5301208"/>
            <a:ext cx="1224136" cy="936104"/>
          </a:xfrm>
          <a:prstGeom prst="roundRect">
            <a:avLst/>
          </a:prstGeom>
          <a:solidFill>
            <a:schemeClr val="accent2">
              <a:alpha val="41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3" name="Скругленный прямоугольник 132"/>
          <p:cNvSpPr/>
          <p:nvPr/>
        </p:nvSpPr>
        <p:spPr>
          <a:xfrm>
            <a:off x="3071663" y="5301208"/>
            <a:ext cx="8485339" cy="936104"/>
          </a:xfrm>
          <a:prstGeom prst="roundRect">
            <a:avLst/>
          </a:prstGeom>
          <a:solidFill>
            <a:schemeClr val="accent2">
              <a:alpha val="41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4" name="Овал 133"/>
          <p:cNvSpPr/>
          <p:nvPr/>
        </p:nvSpPr>
        <p:spPr>
          <a:xfrm>
            <a:off x="2806544" y="5553499"/>
            <a:ext cx="458233" cy="458233"/>
          </a:xfrm>
          <a:prstGeom prst="ellipse">
            <a:avLst/>
          </a:prstGeom>
          <a:solidFill>
            <a:schemeClr val="bg1"/>
          </a:solidFill>
          <a:ln w="19050">
            <a:solidFill>
              <a:srgbClr val="49B1C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5" name="Овал 134"/>
          <p:cNvSpPr/>
          <p:nvPr/>
        </p:nvSpPr>
        <p:spPr>
          <a:xfrm>
            <a:off x="2906330" y="5653285"/>
            <a:ext cx="258660" cy="258660"/>
          </a:xfrm>
          <a:prstGeom prst="ellipse">
            <a:avLst/>
          </a:prstGeom>
          <a:solidFill>
            <a:srgbClr val="49B1CE"/>
          </a:solidFill>
          <a:ln w="19050">
            <a:solidFill>
              <a:srgbClr val="49B1C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6" name="Прямоугольник 135"/>
          <p:cNvSpPr/>
          <p:nvPr/>
        </p:nvSpPr>
        <p:spPr>
          <a:xfrm>
            <a:off x="3339689" y="5432329"/>
            <a:ext cx="11721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kern="0" dirty="0" smtClean="0">
                <a:solidFill>
                  <a:srgbClr val="49B1C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С ТРУ</a:t>
            </a:r>
            <a:endParaRPr lang="ru-RU" b="1" kern="0" dirty="0">
              <a:solidFill>
                <a:srgbClr val="49B1C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7" name="Прямоугольник 136"/>
          <p:cNvSpPr/>
          <p:nvPr/>
        </p:nvSpPr>
        <p:spPr>
          <a:xfrm>
            <a:off x="3339689" y="5742668"/>
            <a:ext cx="801289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sz="1600" kern="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уарлар, жұмыстар мен қызметтердің бірыңғай номенклатуралық анықтамалығы </a:t>
            </a:r>
            <a:endParaRPr lang="kk-KZ" sz="1600" kern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8" name="Овал 137"/>
          <p:cNvSpPr/>
          <p:nvPr/>
        </p:nvSpPr>
        <p:spPr>
          <a:xfrm>
            <a:off x="1603726" y="5553499"/>
            <a:ext cx="458233" cy="458233"/>
          </a:xfrm>
          <a:prstGeom prst="ellipse">
            <a:avLst/>
          </a:prstGeom>
          <a:solidFill>
            <a:schemeClr val="bg1"/>
          </a:solidFill>
          <a:ln w="19050">
            <a:solidFill>
              <a:srgbClr val="49B1C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9" name="Овал 138"/>
          <p:cNvSpPr/>
          <p:nvPr/>
        </p:nvSpPr>
        <p:spPr>
          <a:xfrm>
            <a:off x="1703512" y="5653285"/>
            <a:ext cx="258660" cy="258660"/>
          </a:xfrm>
          <a:prstGeom prst="ellipse">
            <a:avLst/>
          </a:prstGeom>
          <a:solidFill>
            <a:srgbClr val="49B1CE"/>
          </a:solidFill>
          <a:ln w="19050">
            <a:solidFill>
              <a:srgbClr val="49B1C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0" name="Прямоугольник 139"/>
          <p:cNvSpPr/>
          <p:nvPr/>
        </p:nvSpPr>
        <p:spPr>
          <a:xfrm>
            <a:off x="909993" y="5403753"/>
            <a:ext cx="511679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k-KZ" sz="4000" b="1" kern="0" dirty="0">
                <a:solidFill>
                  <a:srgbClr val="49B1C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</a:t>
            </a:r>
            <a:endParaRPr lang="ru-RU" sz="4000" dirty="0">
              <a:solidFill>
                <a:srgbClr val="49B1C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41" name="Прямая соединительная линия 140"/>
          <p:cNvCxnSpPr>
            <a:stCxn id="138" idx="6"/>
            <a:endCxn id="134" idx="2"/>
          </p:cNvCxnSpPr>
          <p:nvPr/>
        </p:nvCxnSpPr>
        <p:spPr>
          <a:xfrm>
            <a:off x="2061959" y="5782616"/>
            <a:ext cx="744585" cy="0"/>
          </a:xfrm>
          <a:prstGeom prst="line">
            <a:avLst/>
          </a:prstGeom>
          <a:ln w="12700">
            <a:solidFill>
              <a:schemeClr val="accent1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0803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033885" y="346455"/>
            <a:ext cx="11038779" cy="4078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5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С ТРУ ЖЕТІЛДІРУІ. ТИПТІК ТЕХНИКАЛЫҚ ЕРЕКШЕЛІКТІҢ МЫСАЛЫ</a:t>
            </a:r>
            <a:r>
              <a:rPr lang="ru-RU" sz="2050" b="1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ru-RU" sz="2050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2" name="Шеврон 91"/>
          <p:cNvSpPr/>
          <p:nvPr/>
        </p:nvSpPr>
        <p:spPr>
          <a:xfrm>
            <a:off x="3082080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РЕЕСТРЛЕР (ТПФ/ОИН)</a:t>
            </a:r>
          </a:p>
        </p:txBody>
      </p:sp>
      <p:sp>
        <p:nvSpPr>
          <p:cNvPr id="93" name="Шеврон 92"/>
          <p:cNvSpPr/>
          <p:nvPr/>
        </p:nvSpPr>
        <p:spPr>
          <a:xfrm>
            <a:off x="6090212" y="43570"/>
            <a:ext cx="3024000" cy="180000"/>
          </a:xfrm>
          <a:prstGeom prst="chevron">
            <a:avLst>
              <a:gd name="adj" fmla="val 46736"/>
            </a:avLst>
          </a:prstGeom>
          <a:solidFill>
            <a:srgbClr val="D9D9D9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. ПКО</a:t>
            </a:r>
          </a:p>
        </p:txBody>
      </p:sp>
      <p:sp>
        <p:nvSpPr>
          <p:cNvPr id="94" name="Шеврон 93"/>
          <p:cNvSpPr/>
          <p:nvPr/>
        </p:nvSpPr>
        <p:spPr>
          <a:xfrm>
            <a:off x="9095936" y="43570"/>
            <a:ext cx="3024000" cy="180000"/>
          </a:xfrm>
          <a:prstGeom prst="chevron">
            <a:avLst>
              <a:gd name="adj" fmla="val 46736"/>
            </a:avLst>
          </a:prstGeom>
          <a:solidFill>
            <a:srgbClr val="17335D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. ЕНС ТРУ</a:t>
            </a:r>
          </a:p>
        </p:txBody>
      </p:sp>
      <p:sp>
        <p:nvSpPr>
          <p:cNvPr id="95" name="Пятиугольник 94"/>
          <p:cNvSpPr/>
          <p:nvPr/>
        </p:nvSpPr>
        <p:spPr>
          <a:xfrm>
            <a:off x="76356" y="47575"/>
            <a:ext cx="3024000" cy="18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kk-KZ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</a:t>
            </a:r>
            <a:r>
              <a:rPr lang="ru-RU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ФТЕЙК-КЕЛІСІМШАРТТАР</a:t>
            </a:r>
            <a:endParaRPr lang="ru-RU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9" name="圆角矩形 4"/>
          <p:cNvSpPr/>
          <p:nvPr/>
        </p:nvSpPr>
        <p:spPr>
          <a:xfrm>
            <a:off x="7229109" y="1432822"/>
            <a:ext cx="4329487" cy="5148932"/>
          </a:xfrm>
          <a:prstGeom prst="roundRect">
            <a:avLst>
              <a:gd name="adj" fmla="val 5470"/>
            </a:avLst>
          </a:prstGeom>
          <a:solidFill>
            <a:schemeClr val="bg1">
              <a:lumMod val="95000"/>
            </a:schemeClr>
          </a:solidFill>
          <a:ln w="25400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lumMod val="75000"/>
                  </a:schemeClr>
                </a:gs>
              </a:gsLst>
              <a:lin ang="2700000" scaled="1"/>
              <a:tileRect/>
            </a:gradFill>
          </a:ln>
          <a:effectLst>
            <a:outerShdw blurRad="76200" dist="12700" dir="2700000" algn="tl" rotWithShape="0">
              <a:prstClr val="black">
                <a:alpha val="40000"/>
              </a:prstClr>
            </a:outerShdw>
            <a:reflection blurRad="6350" stA="50000" endA="300" endPos="0" dist="889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200">
              <a:solidFill>
                <a:prstClr val="white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0" name="Объект 2"/>
          <p:cNvSpPr txBox="1">
            <a:spLocks/>
          </p:cNvSpPr>
          <p:nvPr/>
        </p:nvSpPr>
        <p:spPr>
          <a:xfrm>
            <a:off x="7357534" y="1432822"/>
            <a:ext cx="4201062" cy="51489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800"/>
              </a:spcBef>
              <a:buClr>
                <a:srgbClr val="173F59"/>
              </a:buClr>
              <a:buFont typeface="Wingdings" panose="05000000000000000000" pitchFamily="2" charset="2"/>
              <a:buChar char="§"/>
            </a:pPr>
            <a:r>
              <a:rPr lang="ru-RU" sz="16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иіктігі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</a:t>
            </a:r>
            <a:r>
              <a:rPr lang="ru-RU" sz="1600" u="sng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5 см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</a:p>
          <a:p>
            <a:pPr>
              <a:lnSpc>
                <a:spcPct val="150000"/>
              </a:lnSpc>
              <a:spcBef>
                <a:spcPts val="800"/>
              </a:spcBef>
              <a:buClr>
                <a:srgbClr val="173F59"/>
              </a:buClr>
              <a:buFont typeface="Wingdings" panose="05000000000000000000" pitchFamily="2" charset="2"/>
              <a:buChar char="§"/>
            </a:pPr>
            <a:r>
              <a:rPr lang="ru-RU" sz="16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і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– </a:t>
            </a:r>
            <a:r>
              <a:rPr lang="ru-RU" sz="1600" u="sng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90 см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</a:p>
          <a:p>
            <a:pPr>
              <a:lnSpc>
                <a:spcPct val="150000"/>
              </a:lnSpc>
              <a:spcBef>
                <a:spcPts val="800"/>
              </a:spcBef>
              <a:buClr>
                <a:srgbClr val="173F59"/>
              </a:buClr>
              <a:buFont typeface="Wingdings" panose="05000000000000000000" pitchFamily="2" charset="2"/>
              <a:buChar char="§"/>
            </a:pPr>
            <a:r>
              <a:rPr lang="ru-RU" sz="16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реңдігі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– </a:t>
            </a:r>
            <a:r>
              <a:rPr lang="ru-RU" sz="1600" u="sng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70 см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</a:p>
          <a:p>
            <a:pPr>
              <a:lnSpc>
                <a:spcPct val="150000"/>
              </a:lnSpc>
              <a:spcBef>
                <a:spcPts val="800"/>
              </a:spcBef>
              <a:buClr>
                <a:srgbClr val="173F59"/>
              </a:buClr>
              <a:buFont typeface="Wingdings" panose="05000000000000000000" pitchFamily="2" charset="2"/>
              <a:buChar char="§"/>
            </a:pPr>
            <a:r>
              <a:rPr lang="ru-RU" sz="16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үсі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– </a:t>
            </a:r>
            <a:r>
              <a:rPr lang="ru-RU" sz="1600" u="sng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мен</a:t>
            </a:r>
            <a:r>
              <a:rPr lang="ru-RU" sz="1600" u="sng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девон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</a:p>
          <a:p>
            <a:pPr>
              <a:lnSpc>
                <a:spcPct val="150000"/>
              </a:lnSpc>
              <a:spcBef>
                <a:spcPts val="800"/>
              </a:spcBef>
              <a:buClr>
                <a:srgbClr val="173F59"/>
              </a:buClr>
              <a:buFont typeface="Wingdings" panose="05000000000000000000" pitchFamily="2" charset="2"/>
              <a:buChar char="§"/>
            </a:pPr>
            <a:r>
              <a:rPr lang="ru-RU" sz="16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ішіні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– </a:t>
            </a:r>
            <a:r>
              <a:rPr lang="ru-RU" sz="1600" u="sng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ұрыштық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</a:p>
          <a:p>
            <a:pPr>
              <a:lnSpc>
                <a:spcPct val="150000"/>
              </a:lnSpc>
              <a:spcBef>
                <a:spcPts val="800"/>
              </a:spcBef>
              <a:buClr>
                <a:srgbClr val="173F59"/>
              </a:buClr>
              <a:buFont typeface="Wingdings" panose="05000000000000000000" pitchFamily="2" charset="2"/>
              <a:buChar char="§"/>
            </a:pPr>
            <a:r>
              <a:rPr lang="ru-RU" sz="16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ұрышы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– </a:t>
            </a:r>
            <a:r>
              <a:rPr lang="ru-RU" sz="1600" u="sng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ң</a:t>
            </a:r>
            <a:r>
              <a:rPr lang="ru-RU" sz="1600" u="sng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u="sng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ғынан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50000"/>
              </a:lnSpc>
              <a:spcBef>
                <a:spcPts val="800"/>
              </a:spcBef>
              <a:buClr>
                <a:srgbClr val="173F59"/>
              </a:buClr>
              <a:buFont typeface="Wingdings" panose="05000000000000000000" pitchFamily="2" charset="2"/>
              <a:buChar char="§"/>
            </a:pPr>
            <a:r>
              <a:rPr lang="ru-RU" sz="16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гіз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териалы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– </a:t>
            </a:r>
            <a:r>
              <a:rPr lang="ru-RU" sz="1600" u="sng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ДСП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</a:p>
          <a:p>
            <a:pPr>
              <a:lnSpc>
                <a:spcPct val="150000"/>
              </a:lnSpc>
              <a:spcBef>
                <a:spcPts val="800"/>
              </a:spcBef>
              <a:buClr>
                <a:srgbClr val="173F59"/>
              </a:buClr>
              <a:buFont typeface="Wingdings" panose="05000000000000000000" pitchFamily="2" charset="2"/>
              <a:buChar char="§"/>
            </a:pPr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стел материалы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</a:t>
            </a:r>
            <a:r>
              <a:rPr lang="ru-RU" sz="1600" u="sng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ДСП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 </a:t>
            </a:r>
          </a:p>
          <a:p>
            <a:pPr>
              <a:lnSpc>
                <a:spcPct val="150000"/>
              </a:lnSpc>
              <a:spcBef>
                <a:spcPts val="800"/>
              </a:spcBef>
              <a:buClr>
                <a:srgbClr val="173F59"/>
              </a:buClr>
              <a:buFont typeface="Wingdings" panose="05000000000000000000" pitchFamily="2" charset="2"/>
              <a:buChar char="§"/>
            </a:pP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стел </a:t>
            </a:r>
            <a:r>
              <a:rPr lang="ru-RU" sz="16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лыңдығы</a:t>
            </a:r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</a:t>
            </a:r>
            <a:r>
              <a:rPr lang="ru-RU" sz="1600" u="sng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.8 см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</a:p>
          <a:p>
            <a:pPr>
              <a:lnSpc>
                <a:spcPct val="150000"/>
              </a:lnSpc>
              <a:spcBef>
                <a:spcPts val="800"/>
              </a:spcBef>
              <a:buClr>
                <a:srgbClr val="173F59"/>
              </a:buClr>
              <a:buFont typeface="Wingdings" panose="05000000000000000000" pitchFamily="2" charset="2"/>
              <a:buChar char="§"/>
            </a:pPr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авиатура </a:t>
            </a:r>
            <a:r>
              <a:rPr lang="ru-RU" sz="16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өресінің</a:t>
            </a:r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уы</a:t>
            </a:r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</a:t>
            </a:r>
            <a:r>
              <a:rPr lang="ru-RU" sz="1600" u="sng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қ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 </a:t>
            </a:r>
          </a:p>
          <a:p>
            <a:pPr>
              <a:lnSpc>
                <a:spcPct val="150000"/>
              </a:lnSpc>
              <a:spcBef>
                <a:spcPts val="800"/>
              </a:spcBef>
              <a:buClr>
                <a:srgbClr val="173F59"/>
              </a:buClr>
              <a:buFont typeface="Wingdings" panose="05000000000000000000" pitchFamily="2" charset="2"/>
              <a:buChar char="§"/>
            </a:pPr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нтер </a:t>
            </a:r>
            <a:r>
              <a:rPr lang="ru-RU" sz="16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өресінің</a:t>
            </a:r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уы</a:t>
            </a:r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</a:t>
            </a:r>
            <a:r>
              <a:rPr lang="ru-RU" sz="1600" u="sng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қ</a:t>
            </a:r>
            <a:r>
              <a:rPr lang="ru-RU" sz="1600" u="sng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</p:txBody>
      </p:sp>
      <p:pic>
        <p:nvPicPr>
          <p:cNvPr id="71" name="Picture 2" descr="Стол для руководителя угловой Skyland Alto AC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756" y="3541367"/>
            <a:ext cx="4798044" cy="2927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Прямоугольник 71"/>
          <p:cNvSpPr/>
          <p:nvPr/>
        </p:nvSpPr>
        <p:spPr>
          <a:xfrm>
            <a:off x="840756" y="1230181"/>
            <a:ext cx="5229364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buClr>
                <a:srgbClr val="E2E2E2"/>
              </a:buClr>
            </a:pPr>
            <a:r>
              <a:rPr lang="en-US" dirty="0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_____ </a:t>
            </a:r>
            <a:r>
              <a:rPr lang="en-US" dirty="0" smtClean="0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b="1" dirty="0" smtClean="0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</a:t>
            </a:r>
            <a:r>
              <a:rPr lang="ru-RU" b="1" dirty="0" err="1" smtClean="0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тып</a:t>
            </a:r>
            <a:r>
              <a:rPr lang="ru-RU" b="1" dirty="0" smtClean="0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dirty="0" err="1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лу</a:t>
            </a:r>
            <a:r>
              <a:rPr lang="ru-RU" b="1" dirty="0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dirty="0" err="1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йынша</a:t>
            </a:r>
            <a:r>
              <a:rPr lang="ru-RU" b="1" dirty="0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dirty="0" err="1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хникалық</a:t>
            </a:r>
            <a:r>
              <a:rPr lang="ru-RU" b="1" dirty="0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dirty="0" err="1" smtClean="0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рекшелік</a:t>
            </a:r>
            <a:endParaRPr lang="en-US" b="1" dirty="0">
              <a:solidFill>
                <a:schemeClr val="accent2">
                  <a:lumMod val="1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ctr">
              <a:buClr>
                <a:srgbClr val="E2E2E2"/>
              </a:buClr>
            </a:pPr>
            <a:r>
              <a:rPr lang="ru-RU" b="1" dirty="0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от № (</a:t>
            </a:r>
            <a:r>
              <a:rPr lang="en-US" b="1" dirty="0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______</a:t>
            </a:r>
            <a:r>
              <a:rPr lang="ru-RU" b="1" dirty="0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 </a:t>
            </a:r>
            <a:r>
              <a:rPr lang="ru-RU" b="1" dirty="0" err="1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сшыға</a:t>
            </a:r>
            <a:r>
              <a:rPr lang="ru-RU" b="1" dirty="0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dirty="0" err="1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рналған</a:t>
            </a:r>
            <a:r>
              <a:rPr lang="ru-RU" b="1" dirty="0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dirty="0" err="1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стел</a:t>
            </a:r>
            <a:endParaRPr lang="ru-RU" b="1" dirty="0" smtClean="0">
              <a:solidFill>
                <a:schemeClr val="accent2">
                  <a:lumMod val="1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ctr">
              <a:buClr>
                <a:srgbClr val="E2E2E2"/>
              </a:buClr>
            </a:pPr>
            <a:endParaRPr lang="ru-RU" sz="1400" b="1" dirty="0">
              <a:solidFill>
                <a:prstClr val="black">
                  <a:lumMod val="65000"/>
                  <a:lumOff val="35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>
              <a:buClr>
                <a:srgbClr val="E2E2E2"/>
              </a:buClr>
            </a:pPr>
            <a:r>
              <a:rPr lang="ru-RU" sz="1600" dirty="0" smtClean="0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С ТРУ коды </a:t>
            </a:r>
            <a:r>
              <a:rPr lang="ru-RU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310112.500.000006 </a:t>
            </a:r>
            <a:endParaRPr lang="ru-RU" sz="1600" dirty="0" smtClean="0">
              <a:solidFill>
                <a:prstClr val="black">
                  <a:lumMod val="65000"/>
                  <a:lumOff val="35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>
              <a:buClr>
                <a:srgbClr val="E2E2E2"/>
              </a:buClr>
            </a:pPr>
            <a:r>
              <a:rPr lang="ru-RU" sz="1600" dirty="0" err="1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сшыға</a:t>
            </a:r>
            <a:r>
              <a:rPr lang="ru-RU" sz="1600" dirty="0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рналған</a:t>
            </a:r>
            <a:r>
              <a:rPr lang="ru-RU" sz="1600" dirty="0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600" dirty="0" err="1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шігі</a:t>
            </a:r>
            <a:r>
              <a:rPr lang="ru-RU" sz="1600" dirty="0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бар, </a:t>
            </a:r>
            <a:r>
              <a:rPr lang="ru-RU" sz="1600" dirty="0" err="1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умбасы</a:t>
            </a:r>
            <a:r>
              <a:rPr lang="ru-RU" sz="1600" dirty="0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қ</a:t>
            </a:r>
            <a:r>
              <a:rPr lang="ru-RU" sz="1600" dirty="0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600" dirty="0" err="1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ционарлық</a:t>
            </a:r>
            <a:r>
              <a:rPr lang="ru-RU" sz="1600" dirty="0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ғаш</a:t>
            </a:r>
            <a:r>
              <a:rPr lang="ru-RU" sz="1600" dirty="0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solidFill>
                  <a:schemeClr val="accent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стел</a:t>
            </a:r>
            <a:endParaRPr lang="ru-RU" sz="1600" dirty="0">
              <a:solidFill>
                <a:schemeClr val="accent2">
                  <a:lumMod val="1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7710538" y="962446"/>
            <a:ext cx="33666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err="1">
                <a:solidFill>
                  <a:srgbClr val="173F5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сымша</a:t>
            </a:r>
            <a:r>
              <a:rPr lang="ru-RU" b="1" dirty="0">
                <a:solidFill>
                  <a:srgbClr val="173F5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dirty="0" err="1">
                <a:solidFill>
                  <a:srgbClr val="173F5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ипаттамалары</a:t>
            </a:r>
            <a:r>
              <a:rPr lang="ru-RU" b="1" dirty="0">
                <a:solidFill>
                  <a:srgbClr val="173F5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994112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ubtitle 3"/>
          <p:cNvSpPr txBox="1">
            <a:spLocks/>
          </p:cNvSpPr>
          <p:nvPr/>
        </p:nvSpPr>
        <p:spPr bwMode="white">
          <a:xfrm>
            <a:off x="335360" y="2852936"/>
            <a:ext cx="11436851" cy="2610339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2800" b="1" kern="1200" dirty="0" smtClean="0">
                <a:solidFill>
                  <a:srgbClr val="9E8665"/>
                </a:solidFill>
                <a:latin typeface="+mj-lt"/>
                <a:ea typeface="PT Sans" pitchFamily="34" charset="-52"/>
                <a:cs typeface="Arial" pitchFamily="34" charset="0"/>
                <a:sym typeface="Trebuchet MS" panose="020B0603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20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None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None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6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None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lang="en-US" sz="1600" kern="1200" baseline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kk-KZ" sz="40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ЗАРЛАРЫҢЫЗҒА РАХМЕТ!</a:t>
            </a:r>
            <a:endParaRPr lang="en-US" sz="4000" dirty="0" smtClean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2500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с двумя скругленными соседними углами 10"/>
          <p:cNvSpPr/>
          <p:nvPr/>
        </p:nvSpPr>
        <p:spPr>
          <a:xfrm>
            <a:off x="597758" y="980727"/>
            <a:ext cx="3207631" cy="1800200"/>
          </a:xfrm>
          <a:prstGeom prst="round2SameRect">
            <a:avLst/>
          </a:prstGeom>
          <a:solidFill>
            <a:srgbClr val="17375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033885" y="317652"/>
            <a:ext cx="1124278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kk-KZ" sz="24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МПОРТТЫ АЛМАСТЫРУ БАҒДАРЛАМАСЫ</a:t>
            </a:r>
            <a:endParaRPr kumimoji="0" lang="ru-RU" sz="20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6" name="Полилиния 65"/>
          <p:cNvSpPr/>
          <p:nvPr/>
        </p:nvSpPr>
        <p:spPr>
          <a:xfrm rot="10800000">
            <a:off x="597751" y="2204863"/>
            <a:ext cx="3207631" cy="4248472"/>
          </a:xfrm>
          <a:custGeom>
            <a:avLst/>
            <a:gdLst>
              <a:gd name="connsiteX0" fmla="*/ 3207631 w 3207631"/>
              <a:gd name="connsiteY0" fmla="*/ 4248472 h 4248472"/>
              <a:gd name="connsiteX1" fmla="*/ 2017816 w 3207631"/>
              <a:gd name="connsiteY1" fmla="*/ 4248472 h 4248472"/>
              <a:gd name="connsiteX2" fmla="*/ 1603816 w 3207631"/>
              <a:gd name="connsiteY2" fmla="*/ 3834472 h 4248472"/>
              <a:gd name="connsiteX3" fmla="*/ 1189816 w 3207631"/>
              <a:gd name="connsiteY3" fmla="*/ 4248472 h 4248472"/>
              <a:gd name="connsiteX4" fmla="*/ 0 w 3207631"/>
              <a:gd name="connsiteY4" fmla="*/ 4248472 h 4248472"/>
              <a:gd name="connsiteX5" fmla="*/ 0 w 3207631"/>
              <a:gd name="connsiteY5" fmla="*/ 534616 h 4248472"/>
              <a:gd name="connsiteX6" fmla="*/ 534616 w 3207631"/>
              <a:gd name="connsiteY6" fmla="*/ 0 h 4248472"/>
              <a:gd name="connsiteX7" fmla="*/ 2673015 w 3207631"/>
              <a:gd name="connsiteY7" fmla="*/ 0 h 4248472"/>
              <a:gd name="connsiteX8" fmla="*/ 3207631 w 3207631"/>
              <a:gd name="connsiteY8" fmla="*/ 534616 h 42484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07631" h="4248472">
                <a:moveTo>
                  <a:pt x="3207631" y="4248472"/>
                </a:moveTo>
                <a:lnTo>
                  <a:pt x="2017816" y="4248472"/>
                </a:lnTo>
                <a:cubicBezTo>
                  <a:pt x="2017816" y="4019826"/>
                  <a:pt x="1832462" y="3834472"/>
                  <a:pt x="1603816" y="3834472"/>
                </a:cubicBezTo>
                <a:cubicBezTo>
                  <a:pt x="1375170" y="3834472"/>
                  <a:pt x="1189816" y="4019826"/>
                  <a:pt x="1189816" y="4248472"/>
                </a:cubicBezTo>
                <a:lnTo>
                  <a:pt x="0" y="4248472"/>
                </a:lnTo>
                <a:lnTo>
                  <a:pt x="0" y="534616"/>
                </a:lnTo>
                <a:cubicBezTo>
                  <a:pt x="0" y="239356"/>
                  <a:pt x="239356" y="0"/>
                  <a:pt x="534616" y="0"/>
                </a:cubicBezTo>
                <a:lnTo>
                  <a:pt x="2673015" y="0"/>
                </a:lnTo>
                <a:cubicBezTo>
                  <a:pt x="2968275" y="0"/>
                  <a:pt x="3207631" y="239356"/>
                  <a:pt x="3207631" y="534616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127000" sx="105000" sy="105000" algn="ctr" rotWithShape="0">
              <a:schemeClr val="tx1">
                <a:alpha val="2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1945726" y="1850630"/>
            <a:ext cx="511679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k-KZ" sz="4000" b="1" kern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  <a:endParaRPr lang="ru-RU" sz="40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1173078" y="1235513"/>
            <a:ext cx="205697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k-KZ" sz="2800" b="1" kern="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ҚСАТЫ</a:t>
            </a:r>
            <a:endParaRPr lang="ru-RU" sz="28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9" name="Прямоугольник с двумя скругленными соседними углами 68"/>
          <p:cNvSpPr/>
          <p:nvPr/>
        </p:nvSpPr>
        <p:spPr>
          <a:xfrm>
            <a:off x="4479360" y="980727"/>
            <a:ext cx="3207631" cy="1800200"/>
          </a:xfrm>
          <a:prstGeom prst="round2SameRect">
            <a:avLst/>
          </a:prstGeom>
          <a:solidFill>
            <a:srgbClr val="13728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0" name="Полилиния 69"/>
          <p:cNvSpPr/>
          <p:nvPr/>
        </p:nvSpPr>
        <p:spPr>
          <a:xfrm rot="10800000">
            <a:off x="4479353" y="2204863"/>
            <a:ext cx="3207631" cy="4248472"/>
          </a:xfrm>
          <a:custGeom>
            <a:avLst/>
            <a:gdLst>
              <a:gd name="connsiteX0" fmla="*/ 3207631 w 3207631"/>
              <a:gd name="connsiteY0" fmla="*/ 4248472 h 4248472"/>
              <a:gd name="connsiteX1" fmla="*/ 2017816 w 3207631"/>
              <a:gd name="connsiteY1" fmla="*/ 4248472 h 4248472"/>
              <a:gd name="connsiteX2" fmla="*/ 1603816 w 3207631"/>
              <a:gd name="connsiteY2" fmla="*/ 3834472 h 4248472"/>
              <a:gd name="connsiteX3" fmla="*/ 1189816 w 3207631"/>
              <a:gd name="connsiteY3" fmla="*/ 4248472 h 4248472"/>
              <a:gd name="connsiteX4" fmla="*/ 0 w 3207631"/>
              <a:gd name="connsiteY4" fmla="*/ 4248472 h 4248472"/>
              <a:gd name="connsiteX5" fmla="*/ 0 w 3207631"/>
              <a:gd name="connsiteY5" fmla="*/ 534616 h 4248472"/>
              <a:gd name="connsiteX6" fmla="*/ 534616 w 3207631"/>
              <a:gd name="connsiteY6" fmla="*/ 0 h 4248472"/>
              <a:gd name="connsiteX7" fmla="*/ 2673015 w 3207631"/>
              <a:gd name="connsiteY7" fmla="*/ 0 h 4248472"/>
              <a:gd name="connsiteX8" fmla="*/ 3207631 w 3207631"/>
              <a:gd name="connsiteY8" fmla="*/ 534616 h 42484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07631" h="4248472">
                <a:moveTo>
                  <a:pt x="3207631" y="4248472"/>
                </a:moveTo>
                <a:lnTo>
                  <a:pt x="2017816" y="4248472"/>
                </a:lnTo>
                <a:cubicBezTo>
                  <a:pt x="2017816" y="4019826"/>
                  <a:pt x="1832462" y="3834472"/>
                  <a:pt x="1603816" y="3834472"/>
                </a:cubicBezTo>
                <a:cubicBezTo>
                  <a:pt x="1375170" y="3834472"/>
                  <a:pt x="1189816" y="4019826"/>
                  <a:pt x="1189816" y="4248472"/>
                </a:cubicBezTo>
                <a:lnTo>
                  <a:pt x="0" y="4248472"/>
                </a:lnTo>
                <a:lnTo>
                  <a:pt x="0" y="534616"/>
                </a:lnTo>
                <a:cubicBezTo>
                  <a:pt x="0" y="239356"/>
                  <a:pt x="239356" y="0"/>
                  <a:pt x="534616" y="0"/>
                </a:cubicBezTo>
                <a:lnTo>
                  <a:pt x="2673015" y="0"/>
                </a:lnTo>
                <a:cubicBezTo>
                  <a:pt x="2968275" y="0"/>
                  <a:pt x="3207631" y="239356"/>
                  <a:pt x="3207631" y="534616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127000" sx="105000" sy="105000" algn="ctr" rotWithShape="0">
              <a:schemeClr val="tx1">
                <a:alpha val="2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5827328" y="1850630"/>
            <a:ext cx="511679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k-KZ" sz="4000" b="1" kern="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endParaRPr lang="ru-RU" sz="40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4870680" y="1235513"/>
            <a:ext cx="251863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k-KZ" sz="2800" b="1" kern="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ІНДЕТТЕРІ</a:t>
            </a:r>
            <a:endParaRPr lang="ru-RU" sz="28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1" name="Прямоугольник с двумя скругленными соседними углами 80"/>
          <p:cNvSpPr/>
          <p:nvPr/>
        </p:nvSpPr>
        <p:spPr>
          <a:xfrm>
            <a:off x="8360977" y="980727"/>
            <a:ext cx="3207631" cy="1800200"/>
          </a:xfrm>
          <a:prstGeom prst="round2SameRect">
            <a:avLst/>
          </a:prstGeom>
          <a:solidFill>
            <a:schemeClr val="accent2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3" name="Полилиния 82"/>
          <p:cNvSpPr/>
          <p:nvPr/>
        </p:nvSpPr>
        <p:spPr>
          <a:xfrm rot="10800000">
            <a:off x="8360970" y="2204863"/>
            <a:ext cx="3207631" cy="4248472"/>
          </a:xfrm>
          <a:custGeom>
            <a:avLst/>
            <a:gdLst>
              <a:gd name="connsiteX0" fmla="*/ 3207631 w 3207631"/>
              <a:gd name="connsiteY0" fmla="*/ 4248472 h 4248472"/>
              <a:gd name="connsiteX1" fmla="*/ 2017816 w 3207631"/>
              <a:gd name="connsiteY1" fmla="*/ 4248472 h 4248472"/>
              <a:gd name="connsiteX2" fmla="*/ 1603816 w 3207631"/>
              <a:gd name="connsiteY2" fmla="*/ 3834472 h 4248472"/>
              <a:gd name="connsiteX3" fmla="*/ 1189816 w 3207631"/>
              <a:gd name="connsiteY3" fmla="*/ 4248472 h 4248472"/>
              <a:gd name="connsiteX4" fmla="*/ 0 w 3207631"/>
              <a:gd name="connsiteY4" fmla="*/ 4248472 h 4248472"/>
              <a:gd name="connsiteX5" fmla="*/ 0 w 3207631"/>
              <a:gd name="connsiteY5" fmla="*/ 534616 h 4248472"/>
              <a:gd name="connsiteX6" fmla="*/ 534616 w 3207631"/>
              <a:gd name="connsiteY6" fmla="*/ 0 h 4248472"/>
              <a:gd name="connsiteX7" fmla="*/ 2673015 w 3207631"/>
              <a:gd name="connsiteY7" fmla="*/ 0 h 4248472"/>
              <a:gd name="connsiteX8" fmla="*/ 3207631 w 3207631"/>
              <a:gd name="connsiteY8" fmla="*/ 534616 h 42484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207631" h="4248472">
                <a:moveTo>
                  <a:pt x="3207631" y="4248472"/>
                </a:moveTo>
                <a:lnTo>
                  <a:pt x="2017816" y="4248472"/>
                </a:lnTo>
                <a:cubicBezTo>
                  <a:pt x="2017816" y="4019826"/>
                  <a:pt x="1832462" y="3834472"/>
                  <a:pt x="1603816" y="3834472"/>
                </a:cubicBezTo>
                <a:cubicBezTo>
                  <a:pt x="1375170" y="3834472"/>
                  <a:pt x="1189816" y="4019826"/>
                  <a:pt x="1189816" y="4248472"/>
                </a:cubicBezTo>
                <a:lnTo>
                  <a:pt x="0" y="4248472"/>
                </a:lnTo>
                <a:lnTo>
                  <a:pt x="0" y="534616"/>
                </a:lnTo>
                <a:cubicBezTo>
                  <a:pt x="0" y="239356"/>
                  <a:pt x="239356" y="0"/>
                  <a:pt x="534616" y="0"/>
                </a:cubicBezTo>
                <a:lnTo>
                  <a:pt x="2673015" y="0"/>
                </a:lnTo>
                <a:cubicBezTo>
                  <a:pt x="2968275" y="0"/>
                  <a:pt x="3207631" y="239356"/>
                  <a:pt x="3207631" y="534616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127000" sx="105000" sy="105000" algn="ctr" rotWithShape="0">
              <a:schemeClr val="tx1">
                <a:alpha val="23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4" name="Прямоугольник 83"/>
          <p:cNvSpPr/>
          <p:nvPr/>
        </p:nvSpPr>
        <p:spPr>
          <a:xfrm>
            <a:off x="9708945" y="1850630"/>
            <a:ext cx="511679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k-KZ" sz="4000" b="1" kern="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endParaRPr lang="ru-RU" sz="40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5" name="Прямоугольник 84"/>
          <p:cNvSpPr/>
          <p:nvPr/>
        </p:nvSpPr>
        <p:spPr>
          <a:xfrm>
            <a:off x="8360962" y="1028345"/>
            <a:ext cx="320763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2800" b="1" kern="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ҮТІЛЕТІН НӘТИЖЕЛЕР</a:t>
            </a:r>
            <a:endParaRPr lang="ru-RU" sz="28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0" name="Прямоугольник 89"/>
          <p:cNvSpPr/>
          <p:nvPr/>
        </p:nvSpPr>
        <p:spPr>
          <a:xfrm>
            <a:off x="597743" y="2650413"/>
            <a:ext cx="3207623" cy="27699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6700" indent="-26670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k-KZ" kern="0" dirty="0">
                <a:solidFill>
                  <a:srgbClr val="1737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ңа </a:t>
            </a:r>
            <a:r>
              <a:rPr lang="kk-KZ" kern="0" dirty="0" smtClean="0">
                <a:solidFill>
                  <a:srgbClr val="1737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әсіпорындар құру</a:t>
            </a:r>
          </a:p>
          <a:p>
            <a:pPr marL="266700" indent="-26670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dirty="0" err="1" smtClean="0">
                <a:solidFill>
                  <a:srgbClr val="1737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ұмыс</a:t>
            </a:r>
            <a:r>
              <a:rPr lang="ru-RU" dirty="0" smtClean="0">
                <a:solidFill>
                  <a:srgbClr val="1737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 smtClean="0">
                <a:solidFill>
                  <a:srgbClr val="1737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істеп</a:t>
            </a:r>
            <a:r>
              <a:rPr lang="ru-RU" dirty="0" smtClean="0">
                <a:solidFill>
                  <a:srgbClr val="1737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solidFill>
                  <a:srgbClr val="1737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ұрған</a:t>
            </a:r>
            <a:r>
              <a:rPr lang="ru-RU" dirty="0">
                <a:solidFill>
                  <a:srgbClr val="1737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solidFill>
                  <a:srgbClr val="1737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</a:t>
            </a:r>
            <a:r>
              <a:rPr lang="ru-RU" dirty="0" err="1" smtClean="0">
                <a:solidFill>
                  <a:srgbClr val="1737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әсіпорындарды</a:t>
            </a:r>
            <a:r>
              <a:rPr lang="ru-RU" dirty="0" smtClean="0">
                <a:solidFill>
                  <a:srgbClr val="1737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 smtClean="0">
                <a:solidFill>
                  <a:srgbClr val="1737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ңғырту</a:t>
            </a:r>
            <a:endParaRPr lang="ru-RU" dirty="0" smtClean="0">
              <a:solidFill>
                <a:srgbClr val="17375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66700" indent="-26670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ru-RU" dirty="0" err="1" smtClean="0">
                <a:solidFill>
                  <a:srgbClr val="1737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лде</a:t>
            </a:r>
            <a:r>
              <a:rPr lang="ru-RU" dirty="0" smtClean="0">
                <a:solidFill>
                  <a:srgbClr val="1737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 smtClean="0">
                <a:solidFill>
                  <a:srgbClr val="1737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ығаратын</a:t>
            </a:r>
            <a:r>
              <a:rPr lang="ru-RU" dirty="0" smtClean="0">
                <a:solidFill>
                  <a:srgbClr val="1737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 smtClean="0">
                <a:solidFill>
                  <a:srgbClr val="1737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німдер</a:t>
            </a:r>
            <a:r>
              <a:rPr lang="ru-RU" dirty="0" smtClean="0">
                <a:solidFill>
                  <a:srgbClr val="1737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>
                <a:solidFill>
                  <a:srgbClr val="1737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оменклатурасын</a:t>
            </a:r>
            <a:r>
              <a:rPr lang="ru-RU" dirty="0">
                <a:solidFill>
                  <a:srgbClr val="1737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dirty="0" err="1" smtClean="0">
                <a:solidFill>
                  <a:srgbClr val="1737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ңейту</a:t>
            </a:r>
            <a:endParaRPr lang="ru-RU" dirty="0" smtClean="0">
              <a:solidFill>
                <a:srgbClr val="17375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66700" indent="-26670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k-KZ" dirty="0" smtClean="0">
                <a:solidFill>
                  <a:srgbClr val="1737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мпорт алмастыру</a:t>
            </a:r>
            <a:endParaRPr lang="ru-RU" dirty="0">
              <a:solidFill>
                <a:srgbClr val="17375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1" name="Прямоугольник 90"/>
          <p:cNvSpPr/>
          <p:nvPr/>
        </p:nvSpPr>
        <p:spPr>
          <a:xfrm>
            <a:off x="4479329" y="2650413"/>
            <a:ext cx="3207623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6700" indent="-26670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k-KZ" kern="0" dirty="0">
                <a:solidFill>
                  <a:srgbClr val="13728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ңа өнім өндірісін </a:t>
            </a:r>
            <a:r>
              <a:rPr lang="kk-KZ" kern="0" dirty="0" smtClean="0">
                <a:solidFill>
                  <a:srgbClr val="13728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руға -</a:t>
            </a:r>
          </a:p>
          <a:p>
            <a:pPr marL="266700" indent="-26670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k-KZ" kern="0" dirty="0" smtClean="0">
                <a:solidFill>
                  <a:srgbClr val="13728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ұмыс </a:t>
            </a:r>
            <a:r>
              <a:rPr lang="kk-KZ" kern="0" dirty="0">
                <a:solidFill>
                  <a:srgbClr val="13728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істеп тұрған өндірістердің шығаратын өнімдерінің номенклатурасын </a:t>
            </a:r>
            <a:r>
              <a:rPr lang="kk-KZ" kern="0" dirty="0" smtClean="0">
                <a:solidFill>
                  <a:srgbClr val="13728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ңейтуге -</a:t>
            </a:r>
          </a:p>
          <a:p>
            <a:pPr marL="95250">
              <a:spcAft>
                <a:spcPts val="1200"/>
              </a:spcAft>
            </a:pPr>
            <a:r>
              <a:rPr lang="kk-KZ" kern="0" dirty="0" smtClean="0">
                <a:solidFill>
                  <a:srgbClr val="13728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ғытталған </a:t>
            </a:r>
            <a:r>
              <a:rPr lang="kk-KZ" kern="0" dirty="0">
                <a:solidFill>
                  <a:srgbClr val="13728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ғдайларды жасау және тиісті тетіктерді әзірлеу</a:t>
            </a:r>
          </a:p>
        </p:txBody>
      </p:sp>
      <p:sp>
        <p:nvSpPr>
          <p:cNvPr id="92" name="Прямоугольник 91"/>
          <p:cNvSpPr/>
          <p:nvPr/>
        </p:nvSpPr>
        <p:spPr>
          <a:xfrm>
            <a:off x="8360892" y="2650413"/>
            <a:ext cx="3207623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6700" indent="-26670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k-KZ" kern="0" dirty="0">
                <a:solidFill>
                  <a:srgbClr val="2D7DB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ңа </a:t>
            </a:r>
            <a:r>
              <a:rPr lang="kk-KZ" kern="0" dirty="0" smtClean="0">
                <a:solidFill>
                  <a:srgbClr val="2D7DB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әсіпорындар</a:t>
            </a:r>
          </a:p>
          <a:p>
            <a:pPr marL="266700" indent="-26670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k-KZ" kern="0" dirty="0" smtClean="0">
                <a:solidFill>
                  <a:srgbClr val="2D7DB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лде шығаратын жаңа өнімдер</a:t>
            </a:r>
          </a:p>
          <a:p>
            <a:pPr marL="266700" indent="-26670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k-KZ" kern="0" dirty="0" smtClean="0">
                <a:solidFill>
                  <a:srgbClr val="2D7DB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ңа </a:t>
            </a:r>
            <a:r>
              <a:rPr lang="kk-KZ" kern="0" dirty="0">
                <a:solidFill>
                  <a:srgbClr val="2D7DB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ұмыс </a:t>
            </a:r>
            <a:r>
              <a:rPr lang="kk-KZ" kern="0" dirty="0" smtClean="0">
                <a:solidFill>
                  <a:srgbClr val="2D7DB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ындары</a:t>
            </a:r>
          </a:p>
          <a:p>
            <a:pPr marL="266700" indent="-26670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k-KZ" kern="0" dirty="0" smtClean="0">
                <a:solidFill>
                  <a:srgbClr val="2D7DB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ргілікті </a:t>
            </a:r>
            <a:r>
              <a:rPr lang="kk-KZ" kern="0" dirty="0">
                <a:solidFill>
                  <a:srgbClr val="2D7DB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мтуды </a:t>
            </a:r>
            <a:r>
              <a:rPr lang="kk-KZ" kern="0" dirty="0" smtClean="0">
                <a:solidFill>
                  <a:srgbClr val="2D7DB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ұлғайту</a:t>
            </a:r>
          </a:p>
          <a:p>
            <a:pPr marL="266700" indent="-26670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kk-KZ" kern="0" dirty="0" smtClean="0">
                <a:solidFill>
                  <a:srgbClr val="2D7DB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вестициялар</a:t>
            </a:r>
            <a:r>
              <a:rPr lang="ru-RU" kern="0" dirty="0" smtClean="0">
                <a:solidFill>
                  <a:srgbClr val="2D7DB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kk-KZ" kern="0" dirty="0" smtClean="0">
                <a:solidFill>
                  <a:srgbClr val="2D7DB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лық түсімдері өсімі</a:t>
            </a:r>
            <a:endParaRPr lang="kk-KZ" kern="0" dirty="0">
              <a:solidFill>
                <a:srgbClr val="2D7DB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9" name="Шеврон 118"/>
          <p:cNvSpPr/>
          <p:nvPr/>
        </p:nvSpPr>
        <p:spPr>
          <a:xfrm>
            <a:off x="6090212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. ПКО</a:t>
            </a:r>
          </a:p>
        </p:txBody>
      </p:sp>
      <p:sp>
        <p:nvSpPr>
          <p:cNvPr id="120" name="Шеврон 119"/>
          <p:cNvSpPr/>
          <p:nvPr/>
        </p:nvSpPr>
        <p:spPr>
          <a:xfrm>
            <a:off x="9095936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. ЕНС ТРУ</a:t>
            </a:r>
          </a:p>
        </p:txBody>
      </p:sp>
      <p:sp>
        <p:nvSpPr>
          <p:cNvPr id="121" name="Пятиугольник 120"/>
          <p:cNvSpPr/>
          <p:nvPr/>
        </p:nvSpPr>
        <p:spPr>
          <a:xfrm>
            <a:off x="76356" y="47575"/>
            <a:ext cx="3024000" cy="180000"/>
          </a:xfrm>
          <a:prstGeom prst="homePlate">
            <a:avLst/>
          </a:prstGeom>
          <a:solidFill>
            <a:srgbClr val="17335D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kk-KZ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</a:t>
            </a:r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ФТЕЙК-КЕЛІСІМШАРТТАР</a:t>
            </a:r>
            <a:endParaRPr lang="ru-RU" sz="10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2" name="Шеврон 121"/>
          <p:cNvSpPr/>
          <p:nvPr/>
        </p:nvSpPr>
        <p:spPr>
          <a:xfrm>
            <a:off x="3082080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РЕЕСТРЛЕР (ТПФ/ОИН)</a:t>
            </a:r>
          </a:p>
        </p:txBody>
      </p:sp>
    </p:spTree>
    <p:extLst>
      <p:ext uri="{BB962C8B-B14F-4D97-AF65-F5344CB8AC3E}">
        <p14:creationId xmlns:p14="http://schemas.microsoft.com/office/powerpoint/2010/main" val="2388662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033885" y="317761"/>
            <a:ext cx="1103877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kk-KZ" sz="2400" b="1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ҒДАРЛАМАНЫ ЖҮЗЕГЕ АСЫРУ КЕЗЕҢДЕРІ</a:t>
            </a:r>
            <a:endParaRPr kumimoji="0" lang="ru-RU" sz="20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xmlns="" id="{AC7F5E9D-5C96-4FC5-929E-869488850961}"/>
              </a:ext>
            </a:extLst>
          </p:cNvPr>
          <p:cNvSpPr/>
          <p:nvPr/>
        </p:nvSpPr>
        <p:spPr>
          <a:xfrm>
            <a:off x="-1" y="5618922"/>
            <a:ext cx="3022302" cy="1239078"/>
          </a:xfrm>
          <a:custGeom>
            <a:avLst/>
            <a:gdLst>
              <a:gd name="connsiteX0" fmla="*/ 0 w 3022302"/>
              <a:gd name="connsiteY0" fmla="*/ 0 h 1239078"/>
              <a:gd name="connsiteX1" fmla="*/ 2687635 w 3022302"/>
              <a:gd name="connsiteY1" fmla="*/ 0 h 1239078"/>
              <a:gd name="connsiteX2" fmla="*/ 3022302 w 3022302"/>
              <a:gd name="connsiteY2" fmla="*/ 619539 h 1239078"/>
              <a:gd name="connsiteX3" fmla="*/ 2687635 w 3022302"/>
              <a:gd name="connsiteY3" fmla="*/ 1239078 h 1239078"/>
              <a:gd name="connsiteX4" fmla="*/ 0 w 3022302"/>
              <a:gd name="connsiteY4" fmla="*/ 1239078 h 1239078"/>
              <a:gd name="connsiteX5" fmla="*/ 0 w 3022302"/>
              <a:gd name="connsiteY5" fmla="*/ 0 h 1239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22302" h="1239078">
                <a:moveTo>
                  <a:pt x="0" y="0"/>
                </a:moveTo>
                <a:lnTo>
                  <a:pt x="2687635" y="0"/>
                </a:lnTo>
                <a:lnTo>
                  <a:pt x="3022302" y="619539"/>
                </a:lnTo>
                <a:lnTo>
                  <a:pt x="2687635" y="1239078"/>
                </a:lnTo>
                <a:lnTo>
                  <a:pt x="0" y="1239078"/>
                </a:lnTo>
                <a:lnTo>
                  <a:pt x="0" y="0"/>
                </a:lnTo>
                <a:close/>
              </a:path>
            </a:pathLst>
          </a:custGeom>
          <a:solidFill>
            <a:srgbClr val="1B68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: Shape 16">
            <a:extLst>
              <a:ext uri="{FF2B5EF4-FFF2-40B4-BE49-F238E27FC236}">
                <a16:creationId xmlns:a16="http://schemas.microsoft.com/office/drawing/2014/main" xmlns="" id="{274FAF3B-19DF-46C0-8E89-E1628E8CB073}"/>
              </a:ext>
            </a:extLst>
          </p:cNvPr>
          <p:cNvSpPr/>
          <p:nvPr/>
        </p:nvSpPr>
        <p:spPr>
          <a:xfrm>
            <a:off x="2819351" y="5618922"/>
            <a:ext cx="2188569" cy="1239078"/>
          </a:xfrm>
          <a:custGeom>
            <a:avLst/>
            <a:gdLst>
              <a:gd name="connsiteX0" fmla="*/ 0 w 2188569"/>
              <a:gd name="connsiteY0" fmla="*/ 0 h 1239078"/>
              <a:gd name="connsiteX1" fmla="*/ 1853902 w 2188569"/>
              <a:gd name="connsiteY1" fmla="*/ 0 h 1239078"/>
              <a:gd name="connsiteX2" fmla="*/ 2188569 w 2188569"/>
              <a:gd name="connsiteY2" fmla="*/ 619539 h 1239078"/>
              <a:gd name="connsiteX3" fmla="*/ 1853902 w 2188569"/>
              <a:gd name="connsiteY3" fmla="*/ 1239078 h 1239078"/>
              <a:gd name="connsiteX4" fmla="*/ 0 w 2188569"/>
              <a:gd name="connsiteY4" fmla="*/ 1239078 h 1239078"/>
              <a:gd name="connsiteX5" fmla="*/ 334667 w 2188569"/>
              <a:gd name="connsiteY5" fmla="*/ 619539 h 1239078"/>
              <a:gd name="connsiteX6" fmla="*/ 0 w 2188569"/>
              <a:gd name="connsiteY6" fmla="*/ 0 h 1239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88569" h="1239078">
                <a:moveTo>
                  <a:pt x="0" y="0"/>
                </a:moveTo>
                <a:lnTo>
                  <a:pt x="1853902" y="0"/>
                </a:lnTo>
                <a:lnTo>
                  <a:pt x="2188569" y="619539"/>
                </a:lnTo>
                <a:lnTo>
                  <a:pt x="1853902" y="1239078"/>
                </a:lnTo>
                <a:lnTo>
                  <a:pt x="0" y="1239078"/>
                </a:lnTo>
                <a:lnTo>
                  <a:pt x="334667" y="619539"/>
                </a:lnTo>
                <a:lnTo>
                  <a:pt x="0" y="0"/>
                </a:lnTo>
                <a:close/>
              </a:path>
            </a:pathLst>
          </a:custGeom>
          <a:solidFill>
            <a:srgbClr val="2188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reeform: Shape 15">
            <a:extLst>
              <a:ext uri="{FF2B5EF4-FFF2-40B4-BE49-F238E27FC236}">
                <a16:creationId xmlns:a16="http://schemas.microsoft.com/office/drawing/2014/main" xmlns="" id="{1ACF1636-BA7C-4F94-93B5-AE3E2558F894}"/>
              </a:ext>
            </a:extLst>
          </p:cNvPr>
          <p:cNvSpPr/>
          <p:nvPr/>
        </p:nvSpPr>
        <p:spPr>
          <a:xfrm>
            <a:off x="4804969" y="5618922"/>
            <a:ext cx="2188569" cy="1239078"/>
          </a:xfrm>
          <a:custGeom>
            <a:avLst/>
            <a:gdLst>
              <a:gd name="connsiteX0" fmla="*/ 0 w 2188569"/>
              <a:gd name="connsiteY0" fmla="*/ 0 h 1239078"/>
              <a:gd name="connsiteX1" fmla="*/ 1853902 w 2188569"/>
              <a:gd name="connsiteY1" fmla="*/ 0 h 1239078"/>
              <a:gd name="connsiteX2" fmla="*/ 2188569 w 2188569"/>
              <a:gd name="connsiteY2" fmla="*/ 619539 h 1239078"/>
              <a:gd name="connsiteX3" fmla="*/ 1853902 w 2188569"/>
              <a:gd name="connsiteY3" fmla="*/ 1239078 h 1239078"/>
              <a:gd name="connsiteX4" fmla="*/ 0 w 2188569"/>
              <a:gd name="connsiteY4" fmla="*/ 1239078 h 1239078"/>
              <a:gd name="connsiteX5" fmla="*/ 334667 w 2188569"/>
              <a:gd name="connsiteY5" fmla="*/ 619539 h 1239078"/>
              <a:gd name="connsiteX6" fmla="*/ 0 w 2188569"/>
              <a:gd name="connsiteY6" fmla="*/ 0 h 1239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88569" h="1239078">
                <a:moveTo>
                  <a:pt x="0" y="0"/>
                </a:moveTo>
                <a:lnTo>
                  <a:pt x="1853902" y="0"/>
                </a:lnTo>
                <a:lnTo>
                  <a:pt x="2188569" y="619539"/>
                </a:lnTo>
                <a:lnTo>
                  <a:pt x="1853902" y="1239078"/>
                </a:lnTo>
                <a:lnTo>
                  <a:pt x="0" y="1239078"/>
                </a:lnTo>
                <a:lnTo>
                  <a:pt x="334667" y="619539"/>
                </a:lnTo>
                <a:lnTo>
                  <a:pt x="0" y="0"/>
                </a:lnTo>
                <a:close/>
              </a:path>
            </a:pathLst>
          </a:custGeom>
          <a:solidFill>
            <a:srgbClr val="49B1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Freeform: Shape 14">
            <a:extLst>
              <a:ext uri="{FF2B5EF4-FFF2-40B4-BE49-F238E27FC236}">
                <a16:creationId xmlns:a16="http://schemas.microsoft.com/office/drawing/2014/main" xmlns="" id="{9D52F4AA-590A-4F24-9915-89F0552BD04B}"/>
              </a:ext>
            </a:extLst>
          </p:cNvPr>
          <p:cNvSpPr/>
          <p:nvPr/>
        </p:nvSpPr>
        <p:spPr>
          <a:xfrm>
            <a:off x="6790587" y="5618922"/>
            <a:ext cx="2188569" cy="1239078"/>
          </a:xfrm>
          <a:custGeom>
            <a:avLst/>
            <a:gdLst>
              <a:gd name="connsiteX0" fmla="*/ 0 w 2188569"/>
              <a:gd name="connsiteY0" fmla="*/ 0 h 1239078"/>
              <a:gd name="connsiteX1" fmla="*/ 1853902 w 2188569"/>
              <a:gd name="connsiteY1" fmla="*/ 0 h 1239078"/>
              <a:gd name="connsiteX2" fmla="*/ 2188569 w 2188569"/>
              <a:gd name="connsiteY2" fmla="*/ 619539 h 1239078"/>
              <a:gd name="connsiteX3" fmla="*/ 1853902 w 2188569"/>
              <a:gd name="connsiteY3" fmla="*/ 1239078 h 1239078"/>
              <a:gd name="connsiteX4" fmla="*/ 0 w 2188569"/>
              <a:gd name="connsiteY4" fmla="*/ 1239078 h 1239078"/>
              <a:gd name="connsiteX5" fmla="*/ 334667 w 2188569"/>
              <a:gd name="connsiteY5" fmla="*/ 619539 h 1239078"/>
              <a:gd name="connsiteX6" fmla="*/ 0 w 2188569"/>
              <a:gd name="connsiteY6" fmla="*/ 0 h 1239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88569" h="1239078">
                <a:moveTo>
                  <a:pt x="0" y="0"/>
                </a:moveTo>
                <a:lnTo>
                  <a:pt x="1853902" y="0"/>
                </a:lnTo>
                <a:lnTo>
                  <a:pt x="2188569" y="619539"/>
                </a:lnTo>
                <a:lnTo>
                  <a:pt x="1853902" y="1239078"/>
                </a:lnTo>
                <a:lnTo>
                  <a:pt x="0" y="1239078"/>
                </a:lnTo>
                <a:lnTo>
                  <a:pt x="334667" y="619539"/>
                </a:lnTo>
                <a:lnTo>
                  <a:pt x="0" y="0"/>
                </a:lnTo>
                <a:close/>
              </a:path>
            </a:pathLst>
          </a:custGeom>
          <a:solidFill>
            <a:srgbClr val="60C5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Freeform: Shape 13">
            <a:extLst>
              <a:ext uri="{FF2B5EF4-FFF2-40B4-BE49-F238E27FC236}">
                <a16:creationId xmlns:a16="http://schemas.microsoft.com/office/drawing/2014/main" xmlns="" id="{337497BE-73E9-4C41-B332-3F67AE6038FE}"/>
              </a:ext>
            </a:extLst>
          </p:cNvPr>
          <p:cNvSpPr/>
          <p:nvPr/>
        </p:nvSpPr>
        <p:spPr>
          <a:xfrm>
            <a:off x="8776205" y="5618922"/>
            <a:ext cx="3415795" cy="1239078"/>
          </a:xfrm>
          <a:custGeom>
            <a:avLst/>
            <a:gdLst>
              <a:gd name="connsiteX0" fmla="*/ 0 w 3415795"/>
              <a:gd name="connsiteY0" fmla="*/ 0 h 1239078"/>
              <a:gd name="connsiteX1" fmla="*/ 3415795 w 3415795"/>
              <a:gd name="connsiteY1" fmla="*/ 0 h 1239078"/>
              <a:gd name="connsiteX2" fmla="*/ 3415795 w 3415795"/>
              <a:gd name="connsiteY2" fmla="*/ 1239078 h 1239078"/>
              <a:gd name="connsiteX3" fmla="*/ 0 w 3415795"/>
              <a:gd name="connsiteY3" fmla="*/ 1239078 h 1239078"/>
              <a:gd name="connsiteX4" fmla="*/ 334667 w 3415795"/>
              <a:gd name="connsiteY4" fmla="*/ 619539 h 1239078"/>
              <a:gd name="connsiteX5" fmla="*/ 0 w 3415795"/>
              <a:gd name="connsiteY5" fmla="*/ 0 h 1239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15795" h="1239078">
                <a:moveTo>
                  <a:pt x="0" y="0"/>
                </a:moveTo>
                <a:lnTo>
                  <a:pt x="3415795" y="0"/>
                </a:lnTo>
                <a:lnTo>
                  <a:pt x="3415795" y="1239078"/>
                </a:lnTo>
                <a:lnTo>
                  <a:pt x="0" y="1239078"/>
                </a:lnTo>
                <a:lnTo>
                  <a:pt x="334667" y="619539"/>
                </a:lnTo>
                <a:lnTo>
                  <a:pt x="0" y="0"/>
                </a:lnTo>
                <a:close/>
              </a:path>
            </a:pathLst>
          </a:custGeom>
          <a:solidFill>
            <a:srgbClr val="00C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Graphic 30" descr="Crawl">
            <a:extLst>
              <a:ext uri="{FF2B5EF4-FFF2-40B4-BE49-F238E27FC236}">
                <a16:creationId xmlns:a16="http://schemas.microsoft.com/office/drawing/2014/main" xmlns="" id="{97AC47B0-42E8-4D21-BE7F-ABEBD2DE20D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4192" y="5033962"/>
            <a:ext cx="1400882" cy="1400882"/>
          </a:xfrm>
          <a:prstGeom prst="rect">
            <a:avLst/>
          </a:prstGeom>
        </p:spPr>
      </p:pic>
      <p:pic>
        <p:nvPicPr>
          <p:cNvPr id="24" name="Graphic 32" descr="Walk">
            <a:extLst>
              <a:ext uri="{FF2B5EF4-FFF2-40B4-BE49-F238E27FC236}">
                <a16:creationId xmlns:a16="http://schemas.microsoft.com/office/drawing/2014/main" xmlns="" id="{DCDCF65B-3F3A-480B-BB76-B877BECE565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67812" y="4919406"/>
            <a:ext cx="1399032" cy="1399032"/>
          </a:xfrm>
          <a:prstGeom prst="rect">
            <a:avLst/>
          </a:prstGeom>
        </p:spPr>
      </p:pic>
      <p:pic>
        <p:nvPicPr>
          <p:cNvPr id="25" name="Graphic 34" descr="Run">
            <a:extLst>
              <a:ext uri="{FF2B5EF4-FFF2-40B4-BE49-F238E27FC236}">
                <a16:creationId xmlns:a16="http://schemas.microsoft.com/office/drawing/2014/main" xmlns="" id="{9B443330-287F-4BE7-8A0B-3F11DEE4EE0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191163" y="4919406"/>
            <a:ext cx="1399032" cy="1399032"/>
          </a:xfrm>
          <a:prstGeom prst="rect">
            <a:avLst/>
          </a:prstGeom>
        </p:spPr>
      </p:pic>
      <p:sp>
        <p:nvSpPr>
          <p:cNvPr id="26" name="Oval 38">
            <a:extLst>
              <a:ext uri="{FF2B5EF4-FFF2-40B4-BE49-F238E27FC236}">
                <a16:creationId xmlns:a16="http://schemas.microsoft.com/office/drawing/2014/main" xmlns="" id="{1FD852C7-9698-4955-BDDF-6B50F4AEED4B}"/>
              </a:ext>
            </a:extLst>
          </p:cNvPr>
          <p:cNvSpPr/>
          <p:nvPr/>
        </p:nvSpPr>
        <p:spPr>
          <a:xfrm>
            <a:off x="0" y="5929204"/>
            <a:ext cx="2943494" cy="359484"/>
          </a:xfrm>
          <a:prstGeom prst="ellipse">
            <a:avLst/>
          </a:prstGeom>
          <a:gradFill flip="none" rotWithShape="1">
            <a:gsLst>
              <a:gs pos="17000">
                <a:schemeClr val="tx1">
                  <a:alpha val="55000"/>
                </a:schemeClr>
              </a:gs>
              <a:gs pos="100000">
                <a:srgbClr val="1B6893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016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39">
            <a:extLst>
              <a:ext uri="{FF2B5EF4-FFF2-40B4-BE49-F238E27FC236}">
                <a16:creationId xmlns:a16="http://schemas.microsoft.com/office/drawing/2014/main" xmlns="" id="{33B69EE3-7BC2-4E4C-A512-7568039845C5}"/>
              </a:ext>
            </a:extLst>
          </p:cNvPr>
          <p:cNvSpPr/>
          <p:nvPr/>
        </p:nvSpPr>
        <p:spPr>
          <a:xfrm>
            <a:off x="2995710" y="5987518"/>
            <a:ext cx="1902160" cy="359484"/>
          </a:xfrm>
          <a:prstGeom prst="ellipse">
            <a:avLst/>
          </a:prstGeom>
          <a:gradFill flip="none" rotWithShape="1">
            <a:gsLst>
              <a:gs pos="17000">
                <a:schemeClr val="tx1">
                  <a:alpha val="55000"/>
                </a:schemeClr>
              </a:gs>
              <a:gs pos="100000">
                <a:srgbClr val="1B6893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016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40">
            <a:extLst>
              <a:ext uri="{FF2B5EF4-FFF2-40B4-BE49-F238E27FC236}">
                <a16:creationId xmlns:a16="http://schemas.microsoft.com/office/drawing/2014/main" xmlns="" id="{DEA2FA72-E768-48AE-85A2-0A957A63ECAE}"/>
              </a:ext>
            </a:extLst>
          </p:cNvPr>
          <p:cNvSpPr/>
          <p:nvPr/>
        </p:nvSpPr>
        <p:spPr>
          <a:xfrm>
            <a:off x="4766844" y="6034711"/>
            <a:ext cx="1902160" cy="359484"/>
          </a:xfrm>
          <a:prstGeom prst="ellipse">
            <a:avLst/>
          </a:prstGeom>
          <a:gradFill flip="none" rotWithShape="1">
            <a:gsLst>
              <a:gs pos="17000">
                <a:schemeClr val="tx1">
                  <a:alpha val="55000"/>
                </a:schemeClr>
              </a:gs>
              <a:gs pos="100000">
                <a:srgbClr val="1B6893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016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41">
            <a:extLst>
              <a:ext uri="{FF2B5EF4-FFF2-40B4-BE49-F238E27FC236}">
                <a16:creationId xmlns:a16="http://schemas.microsoft.com/office/drawing/2014/main" xmlns="" id="{34CF65F6-6E9B-4977-BE77-07BC060534E1}"/>
              </a:ext>
            </a:extLst>
          </p:cNvPr>
          <p:cNvSpPr/>
          <p:nvPr/>
        </p:nvSpPr>
        <p:spPr>
          <a:xfrm>
            <a:off x="6680537" y="5978211"/>
            <a:ext cx="1902160" cy="359484"/>
          </a:xfrm>
          <a:prstGeom prst="ellipse">
            <a:avLst/>
          </a:prstGeom>
          <a:gradFill flip="none" rotWithShape="1">
            <a:gsLst>
              <a:gs pos="17000">
                <a:schemeClr val="tx1">
                  <a:alpha val="55000"/>
                </a:schemeClr>
              </a:gs>
              <a:gs pos="100000">
                <a:srgbClr val="1B6893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39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Graphic 43" descr="Confused person">
            <a:extLst>
              <a:ext uri="{FF2B5EF4-FFF2-40B4-BE49-F238E27FC236}">
                <a16:creationId xmlns:a16="http://schemas.microsoft.com/office/drawing/2014/main" xmlns="" id="{39C0C03B-D7A8-453B-9B95-FB497124B64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658964" y="4839429"/>
            <a:ext cx="1399032" cy="1399032"/>
          </a:xfrm>
          <a:prstGeom prst="rect">
            <a:avLst/>
          </a:prstGeom>
        </p:spPr>
      </p:pic>
      <p:sp>
        <p:nvSpPr>
          <p:cNvPr id="31" name="Oval 44">
            <a:extLst>
              <a:ext uri="{FF2B5EF4-FFF2-40B4-BE49-F238E27FC236}">
                <a16:creationId xmlns:a16="http://schemas.microsoft.com/office/drawing/2014/main" xmlns="" id="{02755157-3515-4B11-A081-FF25C758877E}"/>
              </a:ext>
            </a:extLst>
          </p:cNvPr>
          <p:cNvSpPr/>
          <p:nvPr/>
        </p:nvSpPr>
        <p:spPr>
          <a:xfrm>
            <a:off x="9414284" y="5936437"/>
            <a:ext cx="1902160" cy="359484"/>
          </a:xfrm>
          <a:prstGeom prst="ellipse">
            <a:avLst/>
          </a:prstGeom>
          <a:gradFill flip="none" rotWithShape="1">
            <a:gsLst>
              <a:gs pos="17000">
                <a:schemeClr val="tx1">
                  <a:alpha val="55000"/>
                </a:schemeClr>
              </a:gs>
              <a:gs pos="100000">
                <a:srgbClr val="1B6893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39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2" name="Straight Connector 46">
            <a:extLst>
              <a:ext uri="{FF2B5EF4-FFF2-40B4-BE49-F238E27FC236}">
                <a16:creationId xmlns:a16="http://schemas.microsoft.com/office/drawing/2014/main" xmlns="" id="{6FCEFC0E-8404-4DB1-8FA8-7241FA501117}"/>
              </a:ext>
            </a:extLst>
          </p:cNvPr>
          <p:cNvCxnSpPr/>
          <p:nvPr/>
        </p:nvCxnSpPr>
        <p:spPr>
          <a:xfrm flipV="1">
            <a:off x="865028" y="1575582"/>
            <a:ext cx="0" cy="404334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oup 50">
            <a:extLst>
              <a:ext uri="{FF2B5EF4-FFF2-40B4-BE49-F238E27FC236}">
                <a16:creationId xmlns:a16="http://schemas.microsoft.com/office/drawing/2014/main" xmlns="" id="{4ACEE0DA-A9D3-426C-848F-84938ECB2E42}"/>
              </a:ext>
            </a:extLst>
          </p:cNvPr>
          <p:cNvGrpSpPr/>
          <p:nvPr/>
        </p:nvGrpSpPr>
        <p:grpSpPr>
          <a:xfrm>
            <a:off x="911424" y="1522003"/>
            <a:ext cx="2619590" cy="1661690"/>
            <a:chOff x="718017" y="1477109"/>
            <a:chExt cx="2261124" cy="1661690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xmlns="" id="{A9E70902-58D4-4703-8BE5-34A9312764BE}"/>
                </a:ext>
              </a:extLst>
            </p:cNvPr>
            <p:cNvSpPr txBox="1"/>
            <p:nvPr/>
          </p:nvSpPr>
          <p:spPr>
            <a:xfrm>
              <a:off x="718017" y="1477109"/>
              <a:ext cx="927198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000" b="1" dirty="0">
                  <a:solidFill>
                    <a:srgbClr val="1B689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01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xmlns="" id="{259CB5C8-30B9-4D81-9718-AFA0289540A1}"/>
                </a:ext>
              </a:extLst>
            </p:cNvPr>
            <p:cNvSpPr txBox="1"/>
            <p:nvPr/>
          </p:nvSpPr>
          <p:spPr>
            <a:xfrm>
              <a:off x="718017" y="2123136"/>
              <a:ext cx="2261124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0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Таза импорт </a:t>
              </a:r>
              <a:r>
                <a:rPr lang="ru-RU" sz="2000" b="1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пулын</a:t>
              </a:r>
              <a:r>
                <a:rPr lang="ru-RU" sz="20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2000" b="1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қалыптастыру</a:t>
              </a:r>
              <a:endParaRPr lang="en-US" sz="2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cxnSp>
        <p:nvCxnSpPr>
          <p:cNvPr id="37" name="Straight Connector 51">
            <a:extLst>
              <a:ext uri="{FF2B5EF4-FFF2-40B4-BE49-F238E27FC236}">
                <a16:creationId xmlns:a16="http://schemas.microsoft.com/office/drawing/2014/main" xmlns="" id="{084A9581-89D2-4328-99DE-7D245BBA2B61}"/>
              </a:ext>
            </a:extLst>
          </p:cNvPr>
          <p:cNvCxnSpPr/>
          <p:nvPr/>
        </p:nvCxnSpPr>
        <p:spPr>
          <a:xfrm flipV="1">
            <a:off x="3242982" y="1575582"/>
            <a:ext cx="0" cy="404334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52">
            <a:extLst>
              <a:ext uri="{FF2B5EF4-FFF2-40B4-BE49-F238E27FC236}">
                <a16:creationId xmlns:a16="http://schemas.microsoft.com/office/drawing/2014/main" xmlns="" id="{38EF6A5E-A09D-4E24-9E14-EEC8870B55D4}"/>
              </a:ext>
            </a:extLst>
          </p:cNvPr>
          <p:cNvCxnSpPr/>
          <p:nvPr/>
        </p:nvCxnSpPr>
        <p:spPr>
          <a:xfrm flipV="1">
            <a:off x="5360548" y="1575582"/>
            <a:ext cx="0" cy="404334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53">
            <a:extLst>
              <a:ext uri="{FF2B5EF4-FFF2-40B4-BE49-F238E27FC236}">
                <a16:creationId xmlns:a16="http://schemas.microsoft.com/office/drawing/2014/main" xmlns="" id="{F875EEA2-4A0E-4FE5-A70E-3F690FCF2577}"/>
              </a:ext>
            </a:extLst>
          </p:cNvPr>
          <p:cNvCxnSpPr/>
          <p:nvPr/>
        </p:nvCxnSpPr>
        <p:spPr>
          <a:xfrm flipV="1">
            <a:off x="7458732" y="1575582"/>
            <a:ext cx="0" cy="404334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54">
            <a:extLst>
              <a:ext uri="{FF2B5EF4-FFF2-40B4-BE49-F238E27FC236}">
                <a16:creationId xmlns:a16="http://schemas.microsoft.com/office/drawing/2014/main" xmlns="" id="{3AD1F9B1-D80B-4F12-8303-433B22B4689D}"/>
              </a:ext>
            </a:extLst>
          </p:cNvPr>
          <p:cNvCxnSpPr/>
          <p:nvPr/>
        </p:nvCxnSpPr>
        <p:spPr>
          <a:xfrm flipV="1">
            <a:off x="9556916" y="1575582"/>
            <a:ext cx="0" cy="404334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7" name="Group 71">
            <a:extLst>
              <a:ext uri="{FF2B5EF4-FFF2-40B4-BE49-F238E27FC236}">
                <a16:creationId xmlns:a16="http://schemas.microsoft.com/office/drawing/2014/main" xmlns="" id="{F6E8212B-09BE-4F16-AB44-3102054CB319}"/>
              </a:ext>
            </a:extLst>
          </p:cNvPr>
          <p:cNvGrpSpPr/>
          <p:nvPr/>
        </p:nvGrpSpPr>
        <p:grpSpPr>
          <a:xfrm>
            <a:off x="7032931" y="4919406"/>
            <a:ext cx="1561299" cy="1399032"/>
            <a:chOff x="7014514" y="4919406"/>
            <a:chExt cx="1561299" cy="1399032"/>
          </a:xfrm>
        </p:grpSpPr>
        <p:pic>
          <p:nvPicPr>
            <p:cNvPr id="58" name="Graphic 35" descr="Run">
              <a:extLst>
                <a:ext uri="{FF2B5EF4-FFF2-40B4-BE49-F238E27FC236}">
                  <a16:creationId xmlns:a16="http://schemas.microsoft.com/office/drawing/2014/main" xmlns="" id="{45FBC0A8-05BC-4C24-85BB-245A15CCE7C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176781" y="4919406"/>
              <a:ext cx="1399032" cy="1399032"/>
            </a:xfrm>
            <a:prstGeom prst="rect">
              <a:avLst/>
            </a:prstGeom>
          </p:spPr>
        </p:pic>
        <p:sp>
          <p:nvSpPr>
            <p:cNvPr id="59" name="Rectangle: Rounded Corners 36">
              <a:extLst>
                <a:ext uri="{FF2B5EF4-FFF2-40B4-BE49-F238E27FC236}">
                  <a16:creationId xmlns:a16="http://schemas.microsoft.com/office/drawing/2014/main" xmlns="" id="{6F8BA320-DAD2-45C6-8DCB-223294CE3FF8}"/>
                </a:ext>
              </a:extLst>
            </p:cNvPr>
            <p:cNvSpPr/>
            <p:nvPr/>
          </p:nvSpPr>
          <p:spPr>
            <a:xfrm>
              <a:off x="7014514" y="5415376"/>
              <a:ext cx="543339" cy="100842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tangle: Rounded Corners 37">
              <a:extLst>
                <a:ext uri="{FF2B5EF4-FFF2-40B4-BE49-F238E27FC236}">
                  <a16:creationId xmlns:a16="http://schemas.microsoft.com/office/drawing/2014/main" xmlns="" id="{D0BBBE19-D586-465E-A1E0-175444DCFDA1}"/>
                </a:ext>
              </a:extLst>
            </p:cNvPr>
            <p:cNvSpPr/>
            <p:nvPr/>
          </p:nvSpPr>
          <p:spPr>
            <a:xfrm>
              <a:off x="7290297" y="5276021"/>
              <a:ext cx="292396" cy="100842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1" name="Group 50">
            <a:extLst>
              <a:ext uri="{FF2B5EF4-FFF2-40B4-BE49-F238E27FC236}">
                <a16:creationId xmlns:a16="http://schemas.microsoft.com/office/drawing/2014/main" xmlns="" id="{4ACEE0DA-A9D3-426C-848F-84938ECB2E42}"/>
              </a:ext>
            </a:extLst>
          </p:cNvPr>
          <p:cNvGrpSpPr/>
          <p:nvPr/>
        </p:nvGrpSpPr>
        <p:grpSpPr>
          <a:xfrm>
            <a:off x="3274828" y="1522003"/>
            <a:ext cx="2120081" cy="1969466"/>
            <a:chOff x="718017" y="1477109"/>
            <a:chExt cx="2261124" cy="1969466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xmlns="" id="{A9E70902-58D4-4703-8BE5-34A9312764BE}"/>
                </a:ext>
              </a:extLst>
            </p:cNvPr>
            <p:cNvSpPr txBox="1"/>
            <p:nvPr/>
          </p:nvSpPr>
          <p:spPr>
            <a:xfrm>
              <a:off x="718017" y="1477109"/>
              <a:ext cx="927198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000" b="1" dirty="0" smtClean="0">
                  <a:solidFill>
                    <a:srgbClr val="2086AA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02</a:t>
              </a:r>
              <a:endParaRPr lang="en-US" sz="4000" b="1" dirty="0">
                <a:solidFill>
                  <a:srgbClr val="2086A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xmlns="" id="{259CB5C8-30B9-4D81-9718-AFA0289540A1}"/>
                </a:ext>
              </a:extLst>
            </p:cNvPr>
            <p:cNvSpPr txBox="1"/>
            <p:nvPr/>
          </p:nvSpPr>
          <p:spPr>
            <a:xfrm>
              <a:off x="718017" y="2123136"/>
              <a:ext cx="2261124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000" b="1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Бизнестен</a:t>
              </a:r>
              <a:r>
                <a:rPr lang="ru-RU" sz="20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2000" b="1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өтінімдерді</a:t>
              </a:r>
              <a:r>
                <a:rPr lang="ru-RU" sz="20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2000" b="1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қабылдау</a:t>
              </a:r>
              <a:r>
                <a:rPr lang="ru-RU" sz="20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2000" b="1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және</a:t>
              </a:r>
              <a:r>
                <a:rPr lang="ru-RU" sz="20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2000" b="1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қарау</a:t>
              </a:r>
              <a:endParaRPr lang="en-US" sz="2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64" name="Group 50">
            <a:extLst>
              <a:ext uri="{FF2B5EF4-FFF2-40B4-BE49-F238E27FC236}">
                <a16:creationId xmlns:a16="http://schemas.microsoft.com/office/drawing/2014/main" xmlns="" id="{4ACEE0DA-A9D3-426C-848F-84938ECB2E42}"/>
              </a:ext>
            </a:extLst>
          </p:cNvPr>
          <p:cNvGrpSpPr/>
          <p:nvPr/>
        </p:nvGrpSpPr>
        <p:grpSpPr>
          <a:xfrm>
            <a:off x="5408937" y="1522003"/>
            <a:ext cx="2069177" cy="1969466"/>
            <a:chOff x="718017" y="1477109"/>
            <a:chExt cx="2261124" cy="1969466"/>
          </a:xfrm>
        </p:grpSpPr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xmlns="" id="{A9E70902-58D4-4703-8BE5-34A9312764BE}"/>
                </a:ext>
              </a:extLst>
            </p:cNvPr>
            <p:cNvSpPr txBox="1"/>
            <p:nvPr/>
          </p:nvSpPr>
          <p:spPr>
            <a:xfrm>
              <a:off x="718017" y="1477109"/>
              <a:ext cx="927198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000" b="1" dirty="0" smtClean="0">
                  <a:solidFill>
                    <a:srgbClr val="46ADCA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03</a:t>
              </a:r>
              <a:endParaRPr lang="en-US" sz="4000" b="1" dirty="0">
                <a:solidFill>
                  <a:srgbClr val="46ADC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xmlns="" id="{259CB5C8-30B9-4D81-9718-AFA0289540A1}"/>
                </a:ext>
              </a:extLst>
            </p:cNvPr>
            <p:cNvSpPr txBox="1"/>
            <p:nvPr/>
          </p:nvSpPr>
          <p:spPr>
            <a:xfrm>
              <a:off x="718017" y="2123136"/>
              <a:ext cx="2261124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000" b="1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Жаңа</a:t>
              </a:r>
              <a:r>
                <a:rPr lang="ru-RU" sz="20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2000" b="1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өндіріс</a:t>
              </a:r>
              <a:r>
                <a:rPr lang="ru-RU" sz="20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2000" b="1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жобасын</a:t>
              </a:r>
              <a:r>
                <a:rPr lang="ru-RU" sz="20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2000" b="1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таңдау</a:t>
              </a:r>
              <a:r>
                <a:rPr lang="ru-RU" sz="20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2000" b="1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және</a:t>
              </a:r>
              <a:r>
                <a:rPr lang="ru-RU" sz="20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2000" b="1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ақұлдау</a:t>
              </a:r>
              <a:endParaRPr lang="en-US" sz="2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74" name="Group 50">
            <a:extLst>
              <a:ext uri="{FF2B5EF4-FFF2-40B4-BE49-F238E27FC236}">
                <a16:creationId xmlns:a16="http://schemas.microsoft.com/office/drawing/2014/main" xmlns="" id="{4ACEE0DA-A9D3-426C-848F-84938ECB2E42}"/>
              </a:ext>
            </a:extLst>
          </p:cNvPr>
          <p:cNvGrpSpPr/>
          <p:nvPr/>
        </p:nvGrpSpPr>
        <p:grpSpPr>
          <a:xfrm>
            <a:off x="7471543" y="1522003"/>
            <a:ext cx="2069177" cy="1661690"/>
            <a:chOff x="718017" y="1477109"/>
            <a:chExt cx="2261124" cy="1661690"/>
          </a:xfrm>
        </p:grpSpPr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xmlns="" id="{A9E70902-58D4-4703-8BE5-34A9312764BE}"/>
                </a:ext>
              </a:extLst>
            </p:cNvPr>
            <p:cNvSpPr txBox="1"/>
            <p:nvPr/>
          </p:nvSpPr>
          <p:spPr>
            <a:xfrm>
              <a:off x="718017" y="1477109"/>
              <a:ext cx="927198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000" b="1" dirty="0" smtClean="0">
                  <a:solidFill>
                    <a:srgbClr val="60C5CC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04</a:t>
              </a:r>
              <a:endParaRPr lang="en-US" sz="4000" b="1" dirty="0">
                <a:solidFill>
                  <a:srgbClr val="60C5CC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xmlns="" id="{259CB5C8-30B9-4D81-9718-AFA0289540A1}"/>
                </a:ext>
              </a:extLst>
            </p:cNvPr>
            <p:cNvSpPr txBox="1"/>
            <p:nvPr/>
          </p:nvSpPr>
          <p:spPr>
            <a:xfrm>
              <a:off x="718017" y="2123136"/>
              <a:ext cx="2261124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000" b="1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Оффтейк-келісімшарт</a:t>
              </a:r>
              <a:r>
                <a:rPr lang="ru-RU" sz="20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2000" b="1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жасасу</a:t>
              </a:r>
              <a:endParaRPr lang="en-US" sz="2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77" name="Group 50">
            <a:extLst>
              <a:ext uri="{FF2B5EF4-FFF2-40B4-BE49-F238E27FC236}">
                <a16:creationId xmlns:a16="http://schemas.microsoft.com/office/drawing/2014/main" xmlns="" id="{4ACEE0DA-A9D3-426C-848F-84938ECB2E42}"/>
              </a:ext>
            </a:extLst>
          </p:cNvPr>
          <p:cNvGrpSpPr/>
          <p:nvPr/>
        </p:nvGrpSpPr>
        <p:grpSpPr>
          <a:xfrm>
            <a:off x="9585923" y="1522003"/>
            <a:ext cx="2069177" cy="1661690"/>
            <a:chOff x="718017" y="1477109"/>
            <a:chExt cx="2261124" cy="1661690"/>
          </a:xfrm>
        </p:grpSpPr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xmlns="" id="{A9E70902-58D4-4703-8BE5-34A9312764BE}"/>
                </a:ext>
              </a:extLst>
            </p:cNvPr>
            <p:cNvSpPr txBox="1"/>
            <p:nvPr/>
          </p:nvSpPr>
          <p:spPr>
            <a:xfrm>
              <a:off x="718017" y="1477109"/>
              <a:ext cx="927198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000" b="1" dirty="0" smtClean="0">
                  <a:solidFill>
                    <a:srgbClr val="00CC66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05</a:t>
              </a:r>
              <a:endParaRPr lang="en-US" sz="4000" b="1" dirty="0">
                <a:solidFill>
                  <a:srgbClr val="00CC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xmlns="" id="{259CB5C8-30B9-4D81-9718-AFA0289540A1}"/>
                </a:ext>
              </a:extLst>
            </p:cNvPr>
            <p:cNvSpPr txBox="1"/>
            <p:nvPr/>
          </p:nvSpPr>
          <p:spPr>
            <a:xfrm>
              <a:off x="718017" y="2123136"/>
              <a:ext cx="2261124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000" b="1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Жобаның</a:t>
              </a:r>
              <a:r>
                <a:rPr lang="ru-RU" sz="20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2000" b="1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ониторингін</a:t>
              </a:r>
              <a:r>
                <a:rPr lang="ru-RU" sz="20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ru-RU" sz="2000" b="1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жүргізу</a:t>
              </a:r>
              <a:endParaRPr lang="en-US" sz="2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82" name="Шеврон 81"/>
          <p:cNvSpPr/>
          <p:nvPr/>
        </p:nvSpPr>
        <p:spPr>
          <a:xfrm>
            <a:off x="6090212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. ПКО</a:t>
            </a:r>
          </a:p>
        </p:txBody>
      </p:sp>
      <p:sp>
        <p:nvSpPr>
          <p:cNvPr id="86" name="Шеврон 85"/>
          <p:cNvSpPr/>
          <p:nvPr/>
        </p:nvSpPr>
        <p:spPr>
          <a:xfrm>
            <a:off x="9095936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. ЕНС ТРУ</a:t>
            </a:r>
          </a:p>
        </p:txBody>
      </p:sp>
      <p:sp>
        <p:nvSpPr>
          <p:cNvPr id="87" name="Пятиугольник 86"/>
          <p:cNvSpPr/>
          <p:nvPr/>
        </p:nvSpPr>
        <p:spPr>
          <a:xfrm>
            <a:off x="76356" y="47575"/>
            <a:ext cx="3024000" cy="180000"/>
          </a:xfrm>
          <a:prstGeom prst="homePlate">
            <a:avLst/>
          </a:prstGeom>
          <a:solidFill>
            <a:srgbClr val="17335D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kk-KZ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</a:t>
            </a:r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ФТЕЙК-КЕЛІСІМШАРТТАР</a:t>
            </a:r>
            <a:endParaRPr lang="ru-RU" sz="10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8" name="Шеврон 87"/>
          <p:cNvSpPr/>
          <p:nvPr/>
        </p:nvSpPr>
        <p:spPr>
          <a:xfrm>
            <a:off x="3082080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РЕЕСТРЛЕР (ТПФ/ОИН)</a:t>
            </a:r>
          </a:p>
        </p:txBody>
      </p:sp>
    </p:spTree>
    <p:extLst>
      <p:ext uri="{BB962C8B-B14F-4D97-AF65-F5344CB8AC3E}">
        <p14:creationId xmlns:p14="http://schemas.microsoft.com/office/powerpoint/2010/main" val="38808962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7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7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17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7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7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1000"/>
                            </p:stCondLst>
                            <p:childTnLst>
                              <p:par>
                                <p:cTn id="5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1500"/>
                            </p:stCondLst>
                            <p:childTnLst>
                              <p:par>
                                <p:cTn id="56" presetID="17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7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500"/>
                            </p:stCondLst>
                            <p:childTnLst>
                              <p:par>
                                <p:cTn id="71" presetID="17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1000"/>
                            </p:stCondLst>
                            <p:childTnLst>
                              <p:par>
                                <p:cTn id="7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1500"/>
                            </p:stCondLst>
                            <p:childTnLst>
                              <p:par>
                                <p:cTn id="82" presetID="17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17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500"/>
                            </p:stCondLst>
                            <p:childTnLst>
                              <p:par>
                                <p:cTn id="97" presetID="17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9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1000"/>
                            </p:stCondLst>
                            <p:childTnLst>
                              <p:par>
                                <p:cTn id="10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1500"/>
                            </p:stCondLst>
                            <p:childTnLst>
                              <p:par>
                                <p:cTn id="108" presetID="17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17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2" fill="hold">
                            <p:stCondLst>
                              <p:cond delay="500"/>
                            </p:stCondLst>
                            <p:childTnLst>
                              <p:par>
                                <p:cTn id="123" presetID="17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1000"/>
                            </p:stCondLst>
                            <p:childTnLst>
                              <p:par>
                                <p:cTn id="1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3" fill="hold">
                            <p:stCondLst>
                              <p:cond delay="1500"/>
                            </p:stCondLst>
                            <p:childTnLst>
                              <p:par>
                                <p:cTn id="134" presetID="17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0" fill="hold">
                            <p:stCondLst>
                              <p:cond delay="2000"/>
                            </p:stCondLst>
                            <p:childTnLst>
                              <p:par>
                                <p:cTn id="141" presetID="17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3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4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7" fill="hold">
                            <p:stCondLst>
                              <p:cond delay="2500"/>
                            </p:stCondLst>
                            <p:childTnLst>
                              <p:par>
                                <p:cTn id="148" presetID="17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0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1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2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3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4" fill="hold">
                            <p:stCondLst>
                              <p:cond delay="3000"/>
                            </p:stCondLst>
                            <p:childTnLst>
                              <p:par>
                                <p:cTn id="155" presetID="17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7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8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9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0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1" fill="hold">
                            <p:stCondLst>
                              <p:cond delay="3500"/>
                            </p:stCondLst>
                            <p:childTnLst>
                              <p:par>
                                <p:cTn id="162" presetID="17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4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5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6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7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  <p:bldP spid="20" grpId="0" animBg="1"/>
      <p:bldP spid="21" grpId="0" animBg="1"/>
      <p:bldP spid="22" grpId="0" animBg="1"/>
      <p:bldP spid="26" grpId="0" animBg="1"/>
      <p:bldP spid="27" grpId="0" animBg="1"/>
      <p:bldP spid="28" grpId="0" animBg="1"/>
      <p:bldP spid="29" grpId="0" animBg="1"/>
      <p:bldP spid="3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8" name="Straight Connector 22">
            <a:extLst>
              <a:ext uri="{FF2B5EF4-FFF2-40B4-BE49-F238E27FC236}">
                <a16:creationId xmlns:a16="http://schemas.microsoft.com/office/drawing/2014/main" xmlns="" id="{7982AF7D-7FF0-494C-891D-C601C69FAD64}"/>
              </a:ext>
            </a:extLst>
          </p:cNvPr>
          <p:cNvCxnSpPr>
            <a:cxnSpLocks/>
            <a:stCxn id="139" idx="0"/>
            <a:endCxn id="119" idx="4"/>
          </p:cNvCxnSpPr>
          <p:nvPr/>
        </p:nvCxnSpPr>
        <p:spPr>
          <a:xfrm flipV="1">
            <a:off x="2887578" y="1916832"/>
            <a:ext cx="2442" cy="152108"/>
          </a:xfrm>
          <a:prstGeom prst="line">
            <a:avLst/>
          </a:prstGeom>
          <a:ln w="19050">
            <a:solidFill>
              <a:srgbClr val="EE9524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E623F98E-5FFF-4701-A99F-87B202C66033}"/>
              </a:ext>
            </a:extLst>
          </p:cNvPr>
          <p:cNvSpPr txBox="1"/>
          <p:nvPr/>
        </p:nvSpPr>
        <p:spPr>
          <a:xfrm>
            <a:off x="75502" y="4653136"/>
            <a:ext cx="228628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buClr>
                <a:srgbClr val="03A1A4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ініш</a:t>
            </a:r>
          </a:p>
          <a:p>
            <a:pPr marL="177800" indent="-177800">
              <a:buClr>
                <a:srgbClr val="03A1A4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изнес-</a:t>
            </a:r>
            <a:r>
              <a:rPr lang="ru-RU" sz="12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оспар</a:t>
            </a:r>
            <a:endParaRPr lang="ru-RU" sz="1200" dirty="0" smtClean="0">
              <a:solidFill>
                <a:schemeClr val="bg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7800" indent="-177800">
              <a:buClr>
                <a:srgbClr val="03A1A4"/>
              </a:buClr>
              <a:buFont typeface="Wingdings" panose="05000000000000000000" pitchFamily="2" charset="2"/>
              <a:buChar char="§"/>
            </a:pPr>
            <a:r>
              <a:rPr lang="ru-RU" sz="12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хникалық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әне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структорлық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жаттама</a:t>
            </a:r>
            <a:endParaRPr lang="ru-RU" sz="1200" dirty="0" smtClean="0">
              <a:solidFill>
                <a:schemeClr val="bg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7800" indent="-177800">
              <a:buClr>
                <a:srgbClr val="03A1A4"/>
              </a:buClr>
              <a:buFont typeface="Wingdings" panose="05000000000000000000" pitchFamily="2" charset="2"/>
              <a:buChar char="§"/>
            </a:pPr>
            <a:r>
              <a:rPr lang="ru-RU" sz="12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жылық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ғдайы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уралы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жаттар</a:t>
            </a:r>
            <a:endParaRPr lang="ru-RU" sz="1200" dirty="0" smtClean="0">
              <a:solidFill>
                <a:schemeClr val="bg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7800" indent="-177800">
              <a:buClr>
                <a:srgbClr val="03A1A4"/>
              </a:buClr>
              <a:buFont typeface="Wingdings" panose="05000000000000000000" pitchFamily="2" charset="2"/>
              <a:buChar char="§"/>
            </a:pPr>
            <a:r>
              <a:rPr lang="ru-RU" sz="12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ржы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делі</a:t>
            </a:r>
            <a:endParaRPr lang="ru-RU" sz="1200" dirty="0" smtClean="0">
              <a:solidFill>
                <a:schemeClr val="bg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7800" indent="-177800">
              <a:buClr>
                <a:srgbClr val="03A1A4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ргілікті </a:t>
            </a:r>
            <a:r>
              <a:rPr lang="ru-RU" sz="12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мту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үлесі</a:t>
            </a:r>
            <a:endParaRPr lang="ru-RU" sz="1200" dirty="0" smtClean="0">
              <a:solidFill>
                <a:schemeClr val="bg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7800" indent="-177800">
              <a:buClr>
                <a:srgbClr val="03A1A4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ндірісті </a:t>
            </a:r>
            <a:r>
              <a:rPr lang="ru-RU" sz="12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ұйымдастыру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стесі</a:t>
            </a:r>
            <a:endParaRPr lang="ru-RU" sz="1200" dirty="0">
              <a:solidFill>
                <a:schemeClr val="bg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033885" y="334920"/>
            <a:ext cx="1103877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kk-KZ" sz="24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ФТЕЙК-КЕЛІСІМШАРТ ЖАСАСУДЫҢ БИЗНЕС-ПРОЦЕСІ</a:t>
            </a:r>
            <a:endParaRPr kumimoji="0" lang="ru-RU" sz="20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8" name="Straight Connector 43">
            <a:extLst>
              <a:ext uri="{FF2B5EF4-FFF2-40B4-BE49-F238E27FC236}">
                <a16:creationId xmlns:a16="http://schemas.microsoft.com/office/drawing/2014/main" xmlns="" id="{F272CB9A-11DA-403F-8A2C-8ACABB9E55E3}"/>
              </a:ext>
            </a:extLst>
          </p:cNvPr>
          <p:cNvCxnSpPr/>
          <p:nvPr/>
        </p:nvCxnSpPr>
        <p:spPr>
          <a:xfrm>
            <a:off x="6041846" y="3693542"/>
            <a:ext cx="225287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53">
            <a:extLst>
              <a:ext uri="{FF2B5EF4-FFF2-40B4-BE49-F238E27FC236}">
                <a16:creationId xmlns:a16="http://schemas.microsoft.com/office/drawing/2014/main" xmlns="" id="{67E87360-F24A-47BA-928F-2F0179FA8620}"/>
              </a:ext>
            </a:extLst>
          </p:cNvPr>
          <p:cNvCxnSpPr/>
          <p:nvPr/>
        </p:nvCxnSpPr>
        <p:spPr>
          <a:xfrm>
            <a:off x="8279773" y="3693542"/>
            <a:ext cx="225287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62">
            <a:extLst>
              <a:ext uri="{FF2B5EF4-FFF2-40B4-BE49-F238E27FC236}">
                <a16:creationId xmlns:a16="http://schemas.microsoft.com/office/drawing/2014/main" xmlns="" id="{08346D99-21A2-4F27-AB30-6BF25A60C3AC}"/>
              </a:ext>
            </a:extLst>
          </p:cNvPr>
          <p:cNvCxnSpPr>
            <a:cxnSpLocks/>
          </p:cNvCxnSpPr>
          <p:nvPr/>
        </p:nvCxnSpPr>
        <p:spPr>
          <a:xfrm>
            <a:off x="10532643" y="3693542"/>
            <a:ext cx="1538514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7">
            <a:extLst>
              <a:ext uri="{FF2B5EF4-FFF2-40B4-BE49-F238E27FC236}">
                <a16:creationId xmlns:a16="http://schemas.microsoft.com/office/drawing/2014/main" xmlns="" id="{892DD698-41EA-44B3-A338-53428D7D5050}"/>
              </a:ext>
            </a:extLst>
          </p:cNvPr>
          <p:cNvCxnSpPr/>
          <p:nvPr/>
        </p:nvCxnSpPr>
        <p:spPr>
          <a:xfrm>
            <a:off x="3791744" y="3693542"/>
            <a:ext cx="225287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18">
            <a:extLst>
              <a:ext uri="{FF2B5EF4-FFF2-40B4-BE49-F238E27FC236}">
                <a16:creationId xmlns:a16="http://schemas.microsoft.com/office/drawing/2014/main" xmlns="" id="{7141C71E-E08E-4C35-AF33-12A46FFB4E28}"/>
              </a:ext>
            </a:extLst>
          </p:cNvPr>
          <p:cNvCxnSpPr/>
          <p:nvPr/>
        </p:nvCxnSpPr>
        <p:spPr>
          <a:xfrm>
            <a:off x="1610882" y="3693542"/>
            <a:ext cx="225287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6">
            <a:extLst>
              <a:ext uri="{FF2B5EF4-FFF2-40B4-BE49-F238E27FC236}">
                <a16:creationId xmlns:a16="http://schemas.microsoft.com/office/drawing/2014/main" xmlns="" id="{6AB54977-33F8-4105-824C-3D0C493D5B00}"/>
              </a:ext>
            </a:extLst>
          </p:cNvPr>
          <p:cNvCxnSpPr>
            <a:cxnSpLocks/>
          </p:cNvCxnSpPr>
          <p:nvPr/>
        </p:nvCxnSpPr>
        <p:spPr>
          <a:xfrm>
            <a:off x="92990" y="3693542"/>
            <a:ext cx="1538514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val 7">
            <a:extLst>
              <a:ext uri="{FF2B5EF4-FFF2-40B4-BE49-F238E27FC236}">
                <a16:creationId xmlns:a16="http://schemas.microsoft.com/office/drawing/2014/main" xmlns="" id="{BADB8234-7655-4312-99D5-ACC91B4B894B}"/>
              </a:ext>
            </a:extLst>
          </p:cNvPr>
          <p:cNvSpPr/>
          <p:nvPr/>
        </p:nvSpPr>
        <p:spPr>
          <a:xfrm>
            <a:off x="868827" y="3598292"/>
            <a:ext cx="190500" cy="190500"/>
          </a:xfrm>
          <a:prstGeom prst="ellipse">
            <a:avLst/>
          </a:prstGeom>
          <a:solidFill>
            <a:srgbClr val="03A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6" name="Circle: Hollow 8">
            <a:extLst>
              <a:ext uri="{FF2B5EF4-FFF2-40B4-BE49-F238E27FC236}">
                <a16:creationId xmlns:a16="http://schemas.microsoft.com/office/drawing/2014/main" xmlns="" id="{868629C6-9D56-44C4-A90C-D16F2E7AA94B}"/>
              </a:ext>
            </a:extLst>
          </p:cNvPr>
          <p:cNvSpPr/>
          <p:nvPr/>
        </p:nvSpPr>
        <p:spPr>
          <a:xfrm>
            <a:off x="749764" y="3479229"/>
            <a:ext cx="428626" cy="428626"/>
          </a:xfrm>
          <a:prstGeom prst="donut">
            <a:avLst>
              <a:gd name="adj" fmla="val 5281"/>
            </a:avLst>
          </a:prstGeom>
          <a:solidFill>
            <a:srgbClr val="03A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7" name="Circle: Hollow 9">
            <a:extLst>
              <a:ext uri="{FF2B5EF4-FFF2-40B4-BE49-F238E27FC236}">
                <a16:creationId xmlns:a16="http://schemas.microsoft.com/office/drawing/2014/main" xmlns="" id="{1E0E5245-3E9D-45CB-A2A2-78E37536928E}"/>
              </a:ext>
            </a:extLst>
          </p:cNvPr>
          <p:cNvSpPr/>
          <p:nvPr/>
        </p:nvSpPr>
        <p:spPr>
          <a:xfrm>
            <a:off x="616892" y="3346357"/>
            <a:ext cx="694370" cy="694370"/>
          </a:xfrm>
          <a:prstGeom prst="donut">
            <a:avLst>
              <a:gd name="adj" fmla="val 287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8" name="Straight Connector 11">
            <a:extLst>
              <a:ext uri="{FF2B5EF4-FFF2-40B4-BE49-F238E27FC236}">
                <a16:creationId xmlns:a16="http://schemas.microsoft.com/office/drawing/2014/main" xmlns="" id="{1B8353AA-1A28-4FAD-AF44-130B899BAAE4}"/>
              </a:ext>
            </a:extLst>
          </p:cNvPr>
          <p:cNvCxnSpPr>
            <a:cxnSpLocks/>
            <a:stCxn id="29" idx="0"/>
            <a:endCxn id="27" idx="4"/>
          </p:cNvCxnSpPr>
          <p:nvPr/>
        </p:nvCxnSpPr>
        <p:spPr>
          <a:xfrm flipV="1">
            <a:off x="964077" y="4040727"/>
            <a:ext cx="0" cy="488169"/>
          </a:xfrm>
          <a:prstGeom prst="line">
            <a:avLst/>
          </a:prstGeom>
          <a:ln w="19050">
            <a:solidFill>
              <a:srgbClr val="03A1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Oval 13">
            <a:extLst>
              <a:ext uri="{FF2B5EF4-FFF2-40B4-BE49-F238E27FC236}">
                <a16:creationId xmlns:a16="http://schemas.microsoft.com/office/drawing/2014/main" xmlns="" id="{36B49B4F-63E8-4430-9059-553CBCA3AB43}"/>
              </a:ext>
            </a:extLst>
          </p:cNvPr>
          <p:cNvSpPr/>
          <p:nvPr/>
        </p:nvSpPr>
        <p:spPr>
          <a:xfrm>
            <a:off x="901957" y="4528896"/>
            <a:ext cx="124240" cy="124240"/>
          </a:xfrm>
          <a:prstGeom prst="ellipse">
            <a:avLst/>
          </a:prstGeom>
          <a:solidFill>
            <a:srgbClr val="03A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E959B938-7387-4E6C-B81C-CA1B61488588}"/>
              </a:ext>
            </a:extLst>
          </p:cNvPr>
          <p:cNvSpPr txBox="1"/>
          <p:nvPr/>
        </p:nvSpPr>
        <p:spPr>
          <a:xfrm>
            <a:off x="206384" y="2660053"/>
            <a:ext cx="15153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rgbClr val="03A1A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ІНІМ </a:t>
            </a:r>
            <a:r>
              <a:rPr lang="ru-RU" sz="1600" dirty="0" smtClean="0">
                <a:solidFill>
                  <a:srgbClr val="03A1A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ЕРУ</a:t>
            </a:r>
            <a:endParaRPr lang="en-US" sz="1600" dirty="0">
              <a:solidFill>
                <a:srgbClr val="03A1A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3" name="Oval 19">
            <a:extLst>
              <a:ext uri="{FF2B5EF4-FFF2-40B4-BE49-F238E27FC236}">
                <a16:creationId xmlns:a16="http://schemas.microsoft.com/office/drawing/2014/main" xmlns="" id="{037A3CB3-AA60-41C6-B92B-B84EC0A87E61}"/>
              </a:ext>
            </a:extLst>
          </p:cNvPr>
          <p:cNvSpPr/>
          <p:nvPr/>
        </p:nvSpPr>
        <p:spPr>
          <a:xfrm>
            <a:off x="2796372" y="3598292"/>
            <a:ext cx="190500" cy="190500"/>
          </a:xfrm>
          <a:prstGeom prst="ellipse">
            <a:avLst/>
          </a:prstGeom>
          <a:solidFill>
            <a:srgbClr val="EE95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4" name="Circle: Hollow 20">
            <a:extLst>
              <a:ext uri="{FF2B5EF4-FFF2-40B4-BE49-F238E27FC236}">
                <a16:creationId xmlns:a16="http://schemas.microsoft.com/office/drawing/2014/main" xmlns="" id="{5AB77009-91CD-4089-A339-205E1FD860BA}"/>
              </a:ext>
            </a:extLst>
          </p:cNvPr>
          <p:cNvSpPr/>
          <p:nvPr/>
        </p:nvSpPr>
        <p:spPr>
          <a:xfrm>
            <a:off x="2677309" y="3479229"/>
            <a:ext cx="428626" cy="428626"/>
          </a:xfrm>
          <a:prstGeom prst="donut">
            <a:avLst>
              <a:gd name="adj" fmla="val 5281"/>
            </a:avLst>
          </a:prstGeom>
          <a:solidFill>
            <a:srgbClr val="EE95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36" name="Straight Connector 22">
            <a:extLst>
              <a:ext uri="{FF2B5EF4-FFF2-40B4-BE49-F238E27FC236}">
                <a16:creationId xmlns:a16="http://schemas.microsoft.com/office/drawing/2014/main" xmlns="" id="{7982AF7D-7FF0-494C-891D-C601C69FAD64}"/>
              </a:ext>
            </a:extLst>
          </p:cNvPr>
          <p:cNvCxnSpPr>
            <a:cxnSpLocks/>
            <a:stCxn id="129" idx="0"/>
            <a:endCxn id="139" idx="4"/>
          </p:cNvCxnSpPr>
          <p:nvPr/>
        </p:nvCxnSpPr>
        <p:spPr>
          <a:xfrm flipV="1">
            <a:off x="2887578" y="2763310"/>
            <a:ext cx="0" cy="583047"/>
          </a:xfrm>
          <a:prstGeom prst="line">
            <a:avLst/>
          </a:prstGeom>
          <a:ln w="19050">
            <a:solidFill>
              <a:srgbClr val="EE95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D297ECE7-7E0E-48D0-9C27-6FB0E3DB79DD}"/>
              </a:ext>
            </a:extLst>
          </p:cNvPr>
          <p:cNvSpPr txBox="1"/>
          <p:nvPr/>
        </p:nvSpPr>
        <p:spPr>
          <a:xfrm>
            <a:off x="2966353" y="3713234"/>
            <a:ext cx="149318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rgbClr val="EE952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КУРС ЖАРИЯЛАУ </a:t>
            </a:r>
            <a:r>
              <a:rPr lang="ru-RU" sz="1100" i="1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1100" i="1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лама</a:t>
            </a:r>
            <a:r>
              <a:rPr lang="ru-RU" sz="1100" i="1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i="1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інімдерді</a:t>
            </a:r>
            <a:r>
              <a:rPr lang="ru-RU" sz="1100" i="1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i="1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былдау</a:t>
            </a:r>
            <a:r>
              <a:rPr lang="ru-RU" sz="1100" i="1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 </a:t>
            </a:r>
            <a:endParaRPr lang="ru-RU" sz="1100" i="1" dirty="0">
              <a:solidFill>
                <a:schemeClr val="bg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1" name="Oval 28">
            <a:extLst>
              <a:ext uri="{FF2B5EF4-FFF2-40B4-BE49-F238E27FC236}">
                <a16:creationId xmlns:a16="http://schemas.microsoft.com/office/drawing/2014/main" xmlns="" id="{CDCB9A2B-6699-4804-99AE-7A924FDA4340}"/>
              </a:ext>
            </a:extLst>
          </p:cNvPr>
          <p:cNvSpPr/>
          <p:nvPr/>
        </p:nvSpPr>
        <p:spPr>
          <a:xfrm>
            <a:off x="5155949" y="3598292"/>
            <a:ext cx="190500" cy="190500"/>
          </a:xfrm>
          <a:prstGeom prst="ellipse">
            <a:avLst/>
          </a:prstGeom>
          <a:solidFill>
            <a:srgbClr val="EF30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2" name="Circle: Hollow 29">
            <a:extLst>
              <a:ext uri="{FF2B5EF4-FFF2-40B4-BE49-F238E27FC236}">
                <a16:creationId xmlns:a16="http://schemas.microsoft.com/office/drawing/2014/main" xmlns="" id="{3A6CDF07-EF0B-4379-8FBF-3718BD896047}"/>
              </a:ext>
            </a:extLst>
          </p:cNvPr>
          <p:cNvSpPr/>
          <p:nvPr/>
        </p:nvSpPr>
        <p:spPr>
          <a:xfrm>
            <a:off x="5036886" y="3479229"/>
            <a:ext cx="428626" cy="428626"/>
          </a:xfrm>
          <a:prstGeom prst="donut">
            <a:avLst>
              <a:gd name="adj" fmla="val 5281"/>
            </a:avLst>
          </a:prstGeom>
          <a:solidFill>
            <a:srgbClr val="EF30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3" name="Circle: Hollow 30">
            <a:extLst>
              <a:ext uri="{FF2B5EF4-FFF2-40B4-BE49-F238E27FC236}">
                <a16:creationId xmlns:a16="http://schemas.microsoft.com/office/drawing/2014/main" xmlns="" id="{FB3E2DCF-4068-4715-BD27-13370B541EAC}"/>
              </a:ext>
            </a:extLst>
          </p:cNvPr>
          <p:cNvSpPr/>
          <p:nvPr/>
        </p:nvSpPr>
        <p:spPr>
          <a:xfrm>
            <a:off x="4904014" y="3346357"/>
            <a:ext cx="694370" cy="694370"/>
          </a:xfrm>
          <a:prstGeom prst="donut">
            <a:avLst>
              <a:gd name="adj" fmla="val 287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44" name="Straight Connector 31">
            <a:extLst>
              <a:ext uri="{FF2B5EF4-FFF2-40B4-BE49-F238E27FC236}">
                <a16:creationId xmlns:a16="http://schemas.microsoft.com/office/drawing/2014/main" xmlns="" id="{EA49CDC4-E9AD-4789-BEA6-BFF07A73111B}"/>
              </a:ext>
            </a:extLst>
          </p:cNvPr>
          <p:cNvCxnSpPr>
            <a:cxnSpLocks/>
            <a:stCxn id="45" idx="0"/>
            <a:endCxn id="43" idx="4"/>
          </p:cNvCxnSpPr>
          <p:nvPr/>
        </p:nvCxnSpPr>
        <p:spPr>
          <a:xfrm flipV="1">
            <a:off x="5251199" y="4040727"/>
            <a:ext cx="0" cy="1620521"/>
          </a:xfrm>
          <a:prstGeom prst="line">
            <a:avLst/>
          </a:prstGeom>
          <a:ln w="19050">
            <a:solidFill>
              <a:srgbClr val="EF30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Oval 32">
            <a:extLst>
              <a:ext uri="{FF2B5EF4-FFF2-40B4-BE49-F238E27FC236}">
                <a16:creationId xmlns:a16="http://schemas.microsoft.com/office/drawing/2014/main" xmlns="" id="{DD4A8794-EADF-4527-95C6-C9D6781E9C8E}"/>
              </a:ext>
            </a:extLst>
          </p:cNvPr>
          <p:cNvSpPr/>
          <p:nvPr/>
        </p:nvSpPr>
        <p:spPr>
          <a:xfrm>
            <a:off x="5189079" y="5661248"/>
            <a:ext cx="124240" cy="124240"/>
          </a:xfrm>
          <a:prstGeom prst="ellipse">
            <a:avLst/>
          </a:prstGeom>
          <a:solidFill>
            <a:srgbClr val="EF30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4BE7D141-E60D-4B00-AA4B-1F588212DCAD}"/>
              </a:ext>
            </a:extLst>
          </p:cNvPr>
          <p:cNvSpPr txBox="1"/>
          <p:nvPr/>
        </p:nvSpPr>
        <p:spPr>
          <a:xfrm>
            <a:off x="4334390" y="2855615"/>
            <a:ext cx="1833618" cy="363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rgbClr val="EF307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РЫТЫНДЫЛАУ</a:t>
            </a:r>
            <a:endParaRPr lang="en-US" sz="1600" dirty="0">
              <a:solidFill>
                <a:srgbClr val="EF307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9" name="Oval 45">
            <a:extLst>
              <a:ext uri="{FF2B5EF4-FFF2-40B4-BE49-F238E27FC236}">
                <a16:creationId xmlns:a16="http://schemas.microsoft.com/office/drawing/2014/main" xmlns="" id="{86694F26-80D5-467D-94C4-C9C860517F5F}"/>
              </a:ext>
            </a:extLst>
          </p:cNvPr>
          <p:cNvSpPr/>
          <p:nvPr/>
        </p:nvSpPr>
        <p:spPr>
          <a:xfrm>
            <a:off x="6717888" y="3598292"/>
            <a:ext cx="190500" cy="190500"/>
          </a:xfrm>
          <a:prstGeom prst="ellipse">
            <a:avLst/>
          </a:prstGeom>
          <a:solidFill>
            <a:srgbClr val="1C7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0" name="Circle: Hollow 46">
            <a:extLst>
              <a:ext uri="{FF2B5EF4-FFF2-40B4-BE49-F238E27FC236}">
                <a16:creationId xmlns:a16="http://schemas.microsoft.com/office/drawing/2014/main" xmlns="" id="{B0789B4A-0620-4211-9109-6DBE9A07FE51}"/>
              </a:ext>
            </a:extLst>
          </p:cNvPr>
          <p:cNvSpPr/>
          <p:nvPr/>
        </p:nvSpPr>
        <p:spPr>
          <a:xfrm>
            <a:off x="6598825" y="3479229"/>
            <a:ext cx="428626" cy="428626"/>
          </a:xfrm>
          <a:prstGeom prst="donut">
            <a:avLst>
              <a:gd name="adj" fmla="val 5281"/>
            </a:avLst>
          </a:prstGeom>
          <a:solidFill>
            <a:srgbClr val="1C7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1" name="Circle: Hollow 47">
            <a:extLst>
              <a:ext uri="{FF2B5EF4-FFF2-40B4-BE49-F238E27FC236}">
                <a16:creationId xmlns:a16="http://schemas.microsoft.com/office/drawing/2014/main" xmlns="" id="{9C63B36C-028C-4461-9179-02E81EA9B830}"/>
              </a:ext>
            </a:extLst>
          </p:cNvPr>
          <p:cNvSpPr/>
          <p:nvPr/>
        </p:nvSpPr>
        <p:spPr>
          <a:xfrm>
            <a:off x="6465953" y="3346357"/>
            <a:ext cx="694370" cy="694370"/>
          </a:xfrm>
          <a:prstGeom prst="donut">
            <a:avLst>
              <a:gd name="adj" fmla="val 287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52" name="Straight Connector 48">
            <a:extLst>
              <a:ext uri="{FF2B5EF4-FFF2-40B4-BE49-F238E27FC236}">
                <a16:creationId xmlns:a16="http://schemas.microsoft.com/office/drawing/2014/main" xmlns="" id="{15E6C7CE-0DCB-4A82-B08E-519AC3270B85}"/>
              </a:ext>
            </a:extLst>
          </p:cNvPr>
          <p:cNvCxnSpPr>
            <a:cxnSpLocks/>
            <a:stCxn id="51" idx="0"/>
            <a:endCxn id="53" idx="4"/>
          </p:cNvCxnSpPr>
          <p:nvPr/>
        </p:nvCxnSpPr>
        <p:spPr>
          <a:xfrm flipV="1">
            <a:off x="6813138" y="1897056"/>
            <a:ext cx="0" cy="1449301"/>
          </a:xfrm>
          <a:prstGeom prst="line">
            <a:avLst/>
          </a:prstGeom>
          <a:ln w="19050">
            <a:solidFill>
              <a:srgbClr val="1C7C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Oval 49">
            <a:extLst>
              <a:ext uri="{FF2B5EF4-FFF2-40B4-BE49-F238E27FC236}">
                <a16:creationId xmlns:a16="http://schemas.microsoft.com/office/drawing/2014/main" xmlns="" id="{4CFE38F3-7830-46D8-95EE-69DB62ED465D}"/>
              </a:ext>
            </a:extLst>
          </p:cNvPr>
          <p:cNvSpPr/>
          <p:nvPr/>
        </p:nvSpPr>
        <p:spPr>
          <a:xfrm>
            <a:off x="6751018" y="1772816"/>
            <a:ext cx="124240" cy="124240"/>
          </a:xfrm>
          <a:prstGeom prst="ellipse">
            <a:avLst/>
          </a:prstGeom>
          <a:solidFill>
            <a:srgbClr val="1C7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65F62DC2-C651-4B22-B4CB-1846861868F6}"/>
              </a:ext>
            </a:extLst>
          </p:cNvPr>
          <p:cNvSpPr txBox="1"/>
          <p:nvPr/>
        </p:nvSpPr>
        <p:spPr>
          <a:xfrm>
            <a:off x="5804648" y="4080834"/>
            <a:ext cx="201698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rgbClr val="1C7CB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МҰРЫҚ-ҚАЗЫНА</a:t>
            </a:r>
            <a:endParaRPr lang="ru-RU" sz="1600" dirty="0">
              <a:solidFill>
                <a:srgbClr val="1C7CBB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sz="1600" dirty="0" smtClean="0">
                <a:solidFill>
                  <a:srgbClr val="1C7CB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МИССИЯСЫНЫҢ ОТЫРЫСЫ</a:t>
            </a:r>
            <a:endParaRPr lang="ru-RU" sz="1600" dirty="0">
              <a:solidFill>
                <a:srgbClr val="1C7CBB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7" name="Oval 54">
            <a:extLst>
              <a:ext uri="{FF2B5EF4-FFF2-40B4-BE49-F238E27FC236}">
                <a16:creationId xmlns:a16="http://schemas.microsoft.com/office/drawing/2014/main" xmlns="" id="{4A6EEA54-5314-432F-B5DF-B223248AB8AA}"/>
              </a:ext>
            </a:extLst>
          </p:cNvPr>
          <p:cNvSpPr/>
          <p:nvPr/>
        </p:nvSpPr>
        <p:spPr>
          <a:xfrm>
            <a:off x="8315210" y="3598292"/>
            <a:ext cx="190500" cy="190500"/>
          </a:xfrm>
          <a:prstGeom prst="ellipse">
            <a:avLst/>
          </a:prstGeom>
          <a:solidFill>
            <a:srgbClr val="024A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8" name="Circle: Hollow 55">
            <a:extLst>
              <a:ext uri="{FF2B5EF4-FFF2-40B4-BE49-F238E27FC236}">
                <a16:creationId xmlns:a16="http://schemas.microsoft.com/office/drawing/2014/main" xmlns="" id="{0C983C23-7914-456E-AA37-90FEEBD851C0}"/>
              </a:ext>
            </a:extLst>
          </p:cNvPr>
          <p:cNvSpPr/>
          <p:nvPr/>
        </p:nvSpPr>
        <p:spPr>
          <a:xfrm>
            <a:off x="8196147" y="3479229"/>
            <a:ext cx="428626" cy="428626"/>
          </a:xfrm>
          <a:prstGeom prst="donut">
            <a:avLst>
              <a:gd name="adj" fmla="val 5281"/>
            </a:avLst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9" name="Circle: Hollow 56">
            <a:extLst>
              <a:ext uri="{FF2B5EF4-FFF2-40B4-BE49-F238E27FC236}">
                <a16:creationId xmlns:a16="http://schemas.microsoft.com/office/drawing/2014/main" xmlns="" id="{CD810234-B3DF-4AE8-B7F5-9B91C3FEE8A3}"/>
              </a:ext>
            </a:extLst>
          </p:cNvPr>
          <p:cNvSpPr/>
          <p:nvPr/>
        </p:nvSpPr>
        <p:spPr>
          <a:xfrm>
            <a:off x="8063275" y="3346357"/>
            <a:ext cx="694370" cy="694370"/>
          </a:xfrm>
          <a:prstGeom prst="donut">
            <a:avLst>
              <a:gd name="adj" fmla="val 287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60" name="Straight Connector 57">
            <a:extLst>
              <a:ext uri="{FF2B5EF4-FFF2-40B4-BE49-F238E27FC236}">
                <a16:creationId xmlns:a16="http://schemas.microsoft.com/office/drawing/2014/main" xmlns="" id="{A61A79A1-830D-43A5-991E-41089FE309F5}"/>
              </a:ext>
            </a:extLst>
          </p:cNvPr>
          <p:cNvCxnSpPr>
            <a:cxnSpLocks/>
            <a:stCxn id="61" idx="0"/>
            <a:endCxn id="59" idx="4"/>
          </p:cNvCxnSpPr>
          <p:nvPr/>
        </p:nvCxnSpPr>
        <p:spPr>
          <a:xfrm flipV="1">
            <a:off x="8410460" y="4040727"/>
            <a:ext cx="0" cy="1692529"/>
          </a:xfrm>
          <a:prstGeom prst="line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Oval 58">
            <a:extLst>
              <a:ext uri="{FF2B5EF4-FFF2-40B4-BE49-F238E27FC236}">
                <a16:creationId xmlns:a16="http://schemas.microsoft.com/office/drawing/2014/main" xmlns="" id="{91D217BA-6735-41FC-ADDE-ADA84BF5E891}"/>
              </a:ext>
            </a:extLst>
          </p:cNvPr>
          <p:cNvSpPr/>
          <p:nvPr/>
        </p:nvSpPr>
        <p:spPr>
          <a:xfrm>
            <a:off x="8348340" y="5733256"/>
            <a:ext cx="124240" cy="1242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493BBA26-6FB6-4EDA-AE7C-332D388F6619}"/>
              </a:ext>
            </a:extLst>
          </p:cNvPr>
          <p:cNvSpPr txBox="1"/>
          <p:nvPr/>
        </p:nvSpPr>
        <p:spPr>
          <a:xfrm>
            <a:off x="7576998" y="2660053"/>
            <a:ext cx="16669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chemeClr val="accent6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ФФТЕЙК-КЕЛІСІМШАРТ</a:t>
            </a:r>
            <a:endParaRPr lang="ru-RU" sz="1600" dirty="0">
              <a:solidFill>
                <a:schemeClr val="accent6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63" name="Straight Connector 63">
            <a:extLst>
              <a:ext uri="{FF2B5EF4-FFF2-40B4-BE49-F238E27FC236}">
                <a16:creationId xmlns:a16="http://schemas.microsoft.com/office/drawing/2014/main" xmlns="" id="{5CE23E97-80CA-4DCE-905B-0371552128FB}"/>
              </a:ext>
            </a:extLst>
          </p:cNvPr>
          <p:cNvCxnSpPr>
            <a:cxnSpLocks/>
          </p:cNvCxnSpPr>
          <p:nvPr/>
        </p:nvCxnSpPr>
        <p:spPr>
          <a:xfrm>
            <a:off x="34894" y="6669360"/>
            <a:ext cx="2048865" cy="0"/>
          </a:xfrm>
          <a:prstGeom prst="line">
            <a:avLst/>
          </a:prstGeom>
          <a:ln w="19050">
            <a:solidFill>
              <a:srgbClr val="03A1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5">
            <a:extLst>
              <a:ext uri="{FF2B5EF4-FFF2-40B4-BE49-F238E27FC236}">
                <a16:creationId xmlns:a16="http://schemas.microsoft.com/office/drawing/2014/main" xmlns="" id="{36AF9195-D1C7-4EAB-9766-CBBD5AC04E3E}"/>
              </a:ext>
            </a:extLst>
          </p:cNvPr>
          <p:cNvCxnSpPr>
            <a:cxnSpLocks/>
          </p:cNvCxnSpPr>
          <p:nvPr/>
        </p:nvCxnSpPr>
        <p:spPr>
          <a:xfrm>
            <a:off x="4523649" y="6638917"/>
            <a:ext cx="1539343" cy="0"/>
          </a:xfrm>
          <a:prstGeom prst="line">
            <a:avLst/>
          </a:prstGeom>
          <a:ln w="19050">
            <a:solidFill>
              <a:srgbClr val="EF30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6">
            <a:extLst>
              <a:ext uri="{FF2B5EF4-FFF2-40B4-BE49-F238E27FC236}">
                <a16:creationId xmlns:a16="http://schemas.microsoft.com/office/drawing/2014/main" xmlns="" id="{E7FD0854-B613-4503-8F9F-7EBA21977DB6}"/>
              </a:ext>
            </a:extLst>
          </p:cNvPr>
          <p:cNvCxnSpPr>
            <a:cxnSpLocks/>
          </p:cNvCxnSpPr>
          <p:nvPr/>
        </p:nvCxnSpPr>
        <p:spPr>
          <a:xfrm>
            <a:off x="7387646" y="6638917"/>
            <a:ext cx="2048865" cy="0"/>
          </a:xfrm>
          <a:prstGeom prst="line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68">
            <a:extLst>
              <a:ext uri="{FF2B5EF4-FFF2-40B4-BE49-F238E27FC236}">
                <a16:creationId xmlns:a16="http://schemas.microsoft.com/office/drawing/2014/main" xmlns="" id="{3FE4C8AC-856E-47A1-86C3-D3143F6DF56B}"/>
              </a:ext>
            </a:extLst>
          </p:cNvPr>
          <p:cNvCxnSpPr>
            <a:cxnSpLocks/>
          </p:cNvCxnSpPr>
          <p:nvPr/>
        </p:nvCxnSpPr>
        <p:spPr>
          <a:xfrm>
            <a:off x="5868457" y="941819"/>
            <a:ext cx="1862605" cy="0"/>
          </a:xfrm>
          <a:prstGeom prst="line">
            <a:avLst/>
          </a:prstGeom>
          <a:ln w="19050">
            <a:solidFill>
              <a:srgbClr val="1C7C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xmlns="" id="{8710CEB2-4E11-44C6-A201-5DCB3EA9A265}"/>
              </a:ext>
            </a:extLst>
          </p:cNvPr>
          <p:cNvSpPr txBox="1"/>
          <p:nvPr/>
        </p:nvSpPr>
        <p:spPr>
          <a:xfrm>
            <a:off x="7312131" y="5875868"/>
            <a:ext cx="23122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024A1B"/>
              </a:buClr>
              <a:buFont typeface="Wingdings" panose="05000000000000000000" pitchFamily="2" charset="2"/>
              <a:buChar char="§"/>
            </a:pPr>
            <a:r>
              <a:rPr lang="kk-KZ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інім жіберуден оффтейк- келісімшартқа қол қою </a:t>
            </a:r>
            <a:r>
              <a:rPr lang="kk-KZ" sz="1200" b="1" dirty="0" smtClean="0">
                <a:solidFill>
                  <a:srgbClr val="024A1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2 жұмыс күні</a:t>
            </a:r>
            <a:r>
              <a:rPr lang="kk-KZ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ішінде</a:t>
            </a:r>
            <a:endParaRPr lang="en-US" sz="1200" dirty="0">
              <a:solidFill>
                <a:schemeClr val="bg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7" name="Oval 54">
            <a:extLst>
              <a:ext uri="{FF2B5EF4-FFF2-40B4-BE49-F238E27FC236}">
                <a16:creationId xmlns:a16="http://schemas.microsoft.com/office/drawing/2014/main" xmlns="" id="{4A6EEA54-5314-432F-B5DF-B223248AB8AA}"/>
              </a:ext>
            </a:extLst>
          </p:cNvPr>
          <p:cNvSpPr/>
          <p:nvPr/>
        </p:nvSpPr>
        <p:spPr>
          <a:xfrm>
            <a:off x="11204621" y="3598292"/>
            <a:ext cx="190500" cy="190500"/>
          </a:xfrm>
          <a:prstGeom prst="ellipse">
            <a:avLst/>
          </a:prstGeom>
          <a:solidFill>
            <a:srgbClr val="1733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8" name="Circle: Hollow 55">
            <a:extLst>
              <a:ext uri="{FF2B5EF4-FFF2-40B4-BE49-F238E27FC236}">
                <a16:creationId xmlns:a16="http://schemas.microsoft.com/office/drawing/2014/main" xmlns="" id="{0C983C23-7914-456E-AA37-90FEEBD851C0}"/>
              </a:ext>
            </a:extLst>
          </p:cNvPr>
          <p:cNvSpPr/>
          <p:nvPr/>
        </p:nvSpPr>
        <p:spPr>
          <a:xfrm>
            <a:off x="11085558" y="3479229"/>
            <a:ext cx="428626" cy="428626"/>
          </a:xfrm>
          <a:prstGeom prst="donut">
            <a:avLst>
              <a:gd name="adj" fmla="val 5281"/>
            </a:avLst>
          </a:prstGeom>
          <a:solidFill>
            <a:srgbClr val="1733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9" name="Circle: Hollow 56">
            <a:extLst>
              <a:ext uri="{FF2B5EF4-FFF2-40B4-BE49-F238E27FC236}">
                <a16:creationId xmlns:a16="http://schemas.microsoft.com/office/drawing/2014/main" xmlns="" id="{CD810234-B3DF-4AE8-B7F5-9B91C3FEE8A3}"/>
              </a:ext>
            </a:extLst>
          </p:cNvPr>
          <p:cNvSpPr/>
          <p:nvPr/>
        </p:nvSpPr>
        <p:spPr>
          <a:xfrm>
            <a:off x="10952686" y="3346357"/>
            <a:ext cx="694370" cy="694370"/>
          </a:xfrm>
          <a:prstGeom prst="donut">
            <a:avLst>
              <a:gd name="adj" fmla="val 287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80" name="Straight Connector 57">
            <a:extLst>
              <a:ext uri="{FF2B5EF4-FFF2-40B4-BE49-F238E27FC236}">
                <a16:creationId xmlns:a16="http://schemas.microsoft.com/office/drawing/2014/main" xmlns="" id="{A61A79A1-830D-43A5-991E-41089FE309F5}"/>
              </a:ext>
            </a:extLst>
          </p:cNvPr>
          <p:cNvCxnSpPr>
            <a:cxnSpLocks/>
          </p:cNvCxnSpPr>
          <p:nvPr/>
        </p:nvCxnSpPr>
        <p:spPr>
          <a:xfrm flipV="1">
            <a:off x="11299872" y="4040728"/>
            <a:ext cx="0" cy="1033387"/>
          </a:xfrm>
          <a:prstGeom prst="line">
            <a:avLst/>
          </a:prstGeom>
          <a:ln w="19050">
            <a:solidFill>
              <a:srgbClr val="17335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Oval 58">
            <a:extLst>
              <a:ext uri="{FF2B5EF4-FFF2-40B4-BE49-F238E27FC236}">
                <a16:creationId xmlns:a16="http://schemas.microsoft.com/office/drawing/2014/main" xmlns="" id="{91D217BA-6735-41FC-ADDE-ADA84BF5E891}"/>
              </a:ext>
            </a:extLst>
          </p:cNvPr>
          <p:cNvSpPr/>
          <p:nvPr/>
        </p:nvSpPr>
        <p:spPr>
          <a:xfrm>
            <a:off x="11237751" y="5013176"/>
            <a:ext cx="124240" cy="124240"/>
          </a:xfrm>
          <a:prstGeom prst="ellipse">
            <a:avLst/>
          </a:prstGeom>
          <a:solidFill>
            <a:srgbClr val="1733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xmlns="" id="{493BBA26-6FB6-4EDA-AE7C-332D388F6619}"/>
              </a:ext>
            </a:extLst>
          </p:cNvPr>
          <p:cNvSpPr txBox="1"/>
          <p:nvPr/>
        </p:nvSpPr>
        <p:spPr>
          <a:xfrm>
            <a:off x="10383062" y="2660053"/>
            <a:ext cx="18336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rgbClr val="17335D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СПЕКЦИЯЛЫҚ АУДИТ</a:t>
            </a:r>
          </a:p>
        </p:txBody>
      </p:sp>
      <p:cxnSp>
        <p:nvCxnSpPr>
          <p:cNvPr id="87" name="Straight Connector 66">
            <a:extLst>
              <a:ext uri="{FF2B5EF4-FFF2-40B4-BE49-F238E27FC236}">
                <a16:creationId xmlns:a16="http://schemas.microsoft.com/office/drawing/2014/main" xmlns="" id="{E7FD0854-B613-4503-8F9F-7EBA21977DB6}"/>
              </a:ext>
            </a:extLst>
          </p:cNvPr>
          <p:cNvCxnSpPr>
            <a:cxnSpLocks/>
          </p:cNvCxnSpPr>
          <p:nvPr/>
        </p:nvCxnSpPr>
        <p:spPr>
          <a:xfrm>
            <a:off x="10416480" y="6630883"/>
            <a:ext cx="1693277" cy="0"/>
          </a:xfrm>
          <a:prstGeom prst="line">
            <a:avLst/>
          </a:prstGeom>
          <a:ln w="19050">
            <a:solidFill>
              <a:srgbClr val="17335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Oval 45">
            <a:extLst>
              <a:ext uri="{FF2B5EF4-FFF2-40B4-BE49-F238E27FC236}">
                <a16:creationId xmlns:a16="http://schemas.microsoft.com/office/drawing/2014/main" xmlns="" id="{86694F26-80D5-467D-94C4-C9C860517F5F}"/>
              </a:ext>
            </a:extLst>
          </p:cNvPr>
          <p:cNvSpPr/>
          <p:nvPr/>
        </p:nvSpPr>
        <p:spPr>
          <a:xfrm>
            <a:off x="9814231" y="3598292"/>
            <a:ext cx="190500" cy="190500"/>
          </a:xfrm>
          <a:prstGeom prst="ellipse">
            <a:avLst/>
          </a:prstGeom>
          <a:solidFill>
            <a:srgbClr val="00C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2" name="Circle: Hollow 46">
            <a:extLst>
              <a:ext uri="{FF2B5EF4-FFF2-40B4-BE49-F238E27FC236}">
                <a16:creationId xmlns:a16="http://schemas.microsoft.com/office/drawing/2014/main" xmlns="" id="{B0789B4A-0620-4211-9109-6DBE9A07FE51}"/>
              </a:ext>
            </a:extLst>
          </p:cNvPr>
          <p:cNvSpPr/>
          <p:nvPr/>
        </p:nvSpPr>
        <p:spPr>
          <a:xfrm>
            <a:off x="9695168" y="3479229"/>
            <a:ext cx="428626" cy="428626"/>
          </a:xfrm>
          <a:prstGeom prst="donut">
            <a:avLst>
              <a:gd name="adj" fmla="val 5281"/>
            </a:avLst>
          </a:prstGeom>
          <a:solidFill>
            <a:srgbClr val="00C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3" name="Circle: Hollow 47">
            <a:extLst>
              <a:ext uri="{FF2B5EF4-FFF2-40B4-BE49-F238E27FC236}">
                <a16:creationId xmlns:a16="http://schemas.microsoft.com/office/drawing/2014/main" xmlns="" id="{9C63B36C-028C-4461-9179-02E81EA9B830}"/>
              </a:ext>
            </a:extLst>
          </p:cNvPr>
          <p:cNvSpPr/>
          <p:nvPr/>
        </p:nvSpPr>
        <p:spPr>
          <a:xfrm>
            <a:off x="9562296" y="3346357"/>
            <a:ext cx="694370" cy="694370"/>
          </a:xfrm>
          <a:prstGeom prst="donut">
            <a:avLst>
              <a:gd name="adj" fmla="val 287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04" name="Straight Connector 48">
            <a:extLst>
              <a:ext uri="{FF2B5EF4-FFF2-40B4-BE49-F238E27FC236}">
                <a16:creationId xmlns:a16="http://schemas.microsoft.com/office/drawing/2014/main" xmlns="" id="{15E6C7CE-0DCB-4A82-B08E-519AC3270B85}"/>
              </a:ext>
            </a:extLst>
          </p:cNvPr>
          <p:cNvCxnSpPr>
            <a:cxnSpLocks/>
            <a:stCxn id="103" idx="0"/>
            <a:endCxn id="105" idx="4"/>
          </p:cNvCxnSpPr>
          <p:nvPr/>
        </p:nvCxnSpPr>
        <p:spPr>
          <a:xfrm flipV="1">
            <a:off x="9909481" y="1700808"/>
            <a:ext cx="0" cy="1645549"/>
          </a:xfrm>
          <a:prstGeom prst="line">
            <a:avLst/>
          </a:prstGeom>
          <a:ln w="19050"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Oval 49">
            <a:extLst>
              <a:ext uri="{FF2B5EF4-FFF2-40B4-BE49-F238E27FC236}">
                <a16:creationId xmlns:a16="http://schemas.microsoft.com/office/drawing/2014/main" xmlns="" id="{4CFE38F3-7830-46D8-95EE-69DB62ED465D}"/>
              </a:ext>
            </a:extLst>
          </p:cNvPr>
          <p:cNvSpPr/>
          <p:nvPr/>
        </p:nvSpPr>
        <p:spPr>
          <a:xfrm>
            <a:off x="9847361" y="1576568"/>
            <a:ext cx="124240" cy="124240"/>
          </a:xfrm>
          <a:prstGeom prst="ellipse">
            <a:avLst/>
          </a:prstGeom>
          <a:solidFill>
            <a:srgbClr val="00C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xmlns="" id="{65F62DC2-C651-4B22-B4CB-1846861868F6}"/>
              </a:ext>
            </a:extLst>
          </p:cNvPr>
          <p:cNvSpPr txBox="1"/>
          <p:nvPr/>
        </p:nvSpPr>
        <p:spPr>
          <a:xfrm>
            <a:off x="9151788" y="4080834"/>
            <a:ext cx="151538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rgbClr val="00CC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НДІРІСТІҢ БАСТАЛУЫ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xmlns="" id="{44337E62-7F21-4CD3-9B0D-507A64DF7728}"/>
              </a:ext>
            </a:extLst>
          </p:cNvPr>
          <p:cNvSpPr txBox="1"/>
          <p:nvPr/>
        </p:nvSpPr>
        <p:spPr>
          <a:xfrm>
            <a:off x="8761348" y="975370"/>
            <a:ext cx="21591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00CC66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ндірісті </a:t>
            </a:r>
            <a:r>
              <a:rPr lang="ru-RU" sz="12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ұйымдастыру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стесіне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әйкес</a:t>
            </a:r>
            <a:endParaRPr lang="ru-RU" sz="1200" dirty="0">
              <a:solidFill>
                <a:schemeClr val="bg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08" name="Straight Connector 68">
            <a:extLst>
              <a:ext uri="{FF2B5EF4-FFF2-40B4-BE49-F238E27FC236}">
                <a16:creationId xmlns:a16="http://schemas.microsoft.com/office/drawing/2014/main" xmlns="" id="{3FE4C8AC-856E-47A1-86C3-D3143F6DF56B}"/>
              </a:ext>
            </a:extLst>
          </p:cNvPr>
          <p:cNvCxnSpPr>
            <a:cxnSpLocks/>
          </p:cNvCxnSpPr>
          <p:nvPr/>
        </p:nvCxnSpPr>
        <p:spPr>
          <a:xfrm>
            <a:off x="8871670" y="960499"/>
            <a:ext cx="2048865" cy="0"/>
          </a:xfrm>
          <a:prstGeom prst="line">
            <a:avLst/>
          </a:prstGeom>
          <a:ln w="19050"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ircle: Hollow 20">
            <a:extLst>
              <a:ext uri="{FF2B5EF4-FFF2-40B4-BE49-F238E27FC236}">
                <a16:creationId xmlns:a16="http://schemas.microsoft.com/office/drawing/2014/main" xmlns="" id="{5AB77009-91CD-4089-A339-205E1FD860BA}"/>
              </a:ext>
            </a:extLst>
          </p:cNvPr>
          <p:cNvSpPr/>
          <p:nvPr/>
        </p:nvSpPr>
        <p:spPr>
          <a:xfrm>
            <a:off x="2677309" y="2201911"/>
            <a:ext cx="428626" cy="428626"/>
          </a:xfrm>
          <a:prstGeom prst="donut">
            <a:avLst>
              <a:gd name="adj" fmla="val 5281"/>
            </a:avLst>
          </a:prstGeom>
          <a:solidFill>
            <a:srgbClr val="EE95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11" name="Straight Connector 22">
            <a:extLst>
              <a:ext uri="{FF2B5EF4-FFF2-40B4-BE49-F238E27FC236}">
                <a16:creationId xmlns:a16="http://schemas.microsoft.com/office/drawing/2014/main" xmlns="" id="{7982AF7D-7FF0-494C-891D-C601C69FAD64}"/>
              </a:ext>
            </a:extLst>
          </p:cNvPr>
          <p:cNvCxnSpPr>
            <a:cxnSpLocks/>
            <a:stCxn id="129" idx="4"/>
            <a:endCxn id="140" idx="0"/>
          </p:cNvCxnSpPr>
          <p:nvPr/>
        </p:nvCxnSpPr>
        <p:spPr>
          <a:xfrm>
            <a:off x="2887578" y="4040727"/>
            <a:ext cx="0" cy="612409"/>
          </a:xfrm>
          <a:prstGeom prst="line">
            <a:avLst/>
          </a:prstGeom>
          <a:ln w="19050">
            <a:solidFill>
              <a:srgbClr val="EE952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Circle: Hollow 20">
            <a:extLst>
              <a:ext uri="{FF2B5EF4-FFF2-40B4-BE49-F238E27FC236}">
                <a16:creationId xmlns:a16="http://schemas.microsoft.com/office/drawing/2014/main" xmlns="" id="{5AB77009-91CD-4089-A339-205E1FD860BA}"/>
              </a:ext>
            </a:extLst>
          </p:cNvPr>
          <p:cNvSpPr/>
          <p:nvPr/>
        </p:nvSpPr>
        <p:spPr>
          <a:xfrm>
            <a:off x="2677309" y="4788281"/>
            <a:ext cx="428626" cy="428626"/>
          </a:xfrm>
          <a:prstGeom prst="donut">
            <a:avLst>
              <a:gd name="adj" fmla="val 5281"/>
            </a:avLst>
          </a:prstGeom>
          <a:solidFill>
            <a:srgbClr val="EE95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4" name="Oval 19">
            <a:extLst>
              <a:ext uri="{FF2B5EF4-FFF2-40B4-BE49-F238E27FC236}">
                <a16:creationId xmlns:a16="http://schemas.microsoft.com/office/drawing/2014/main" xmlns="" id="{037A3CB3-AA60-41C6-B92B-B84EC0A87E61}"/>
              </a:ext>
            </a:extLst>
          </p:cNvPr>
          <p:cNvSpPr/>
          <p:nvPr/>
        </p:nvSpPr>
        <p:spPr>
          <a:xfrm>
            <a:off x="2796372" y="4906620"/>
            <a:ext cx="190500" cy="190500"/>
          </a:xfrm>
          <a:prstGeom prst="ellipse">
            <a:avLst/>
          </a:prstGeom>
          <a:solidFill>
            <a:srgbClr val="EE95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xmlns="" id="{D297ECE7-7E0E-48D0-9C27-6FB0E3DB79DD}"/>
              </a:ext>
            </a:extLst>
          </p:cNvPr>
          <p:cNvSpPr txBox="1"/>
          <p:nvPr/>
        </p:nvSpPr>
        <p:spPr>
          <a:xfrm>
            <a:off x="3196714" y="2042264"/>
            <a:ext cx="10112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rgbClr val="EE952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ІНІМДІ ЕТҰ-ҒА ЖІБЕРУ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xmlns="" id="{D297ECE7-7E0E-48D0-9C27-6FB0E3DB79DD}"/>
              </a:ext>
            </a:extLst>
          </p:cNvPr>
          <p:cNvSpPr txBox="1"/>
          <p:nvPr/>
        </p:nvSpPr>
        <p:spPr>
          <a:xfrm>
            <a:off x="3177411" y="4746527"/>
            <a:ext cx="13732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rgbClr val="EE952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Қ-ИНВЕСТКЕ</a:t>
            </a:r>
            <a:endParaRPr lang="ru-RU" sz="1400" dirty="0">
              <a:solidFill>
                <a:srgbClr val="EE952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sz="1400" dirty="0" smtClean="0">
                <a:solidFill>
                  <a:srgbClr val="EE9524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ЖІБЕРУ</a:t>
            </a:r>
            <a:endParaRPr lang="ru-RU" sz="1400" dirty="0">
              <a:solidFill>
                <a:srgbClr val="EE952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xmlns="" id="{E623F98E-5FFF-4701-A99F-87B202C66033}"/>
              </a:ext>
            </a:extLst>
          </p:cNvPr>
          <p:cNvSpPr txBox="1"/>
          <p:nvPr/>
        </p:nvSpPr>
        <p:spPr>
          <a:xfrm>
            <a:off x="2135560" y="941819"/>
            <a:ext cx="21992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buClr>
                <a:srgbClr val="EE9524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ажеттілікті </a:t>
            </a:r>
            <a:r>
              <a:rPr lang="ru-RU" sz="12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тау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</a:p>
          <a:p>
            <a:pPr marL="177800" indent="-177800">
              <a:buClr>
                <a:srgbClr val="EE9524"/>
              </a:buClr>
              <a:buFont typeface="Wingdings" panose="05000000000000000000" pitchFamily="2" charset="2"/>
              <a:buChar char="§"/>
            </a:pPr>
            <a:r>
              <a:rPr lang="ru-RU" sz="12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хникалық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рекшелікке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әйкестігі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</a:p>
          <a:p>
            <a:pPr marL="177800" indent="-177800">
              <a:buClr>
                <a:srgbClr val="EE9524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ркетинг </a:t>
            </a:r>
            <a:r>
              <a:rPr lang="ru-RU" sz="12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үргізу</a:t>
            </a:r>
            <a:endParaRPr lang="ru-RU" sz="1200" dirty="0">
              <a:solidFill>
                <a:schemeClr val="bg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9" name="Oval 23">
            <a:extLst>
              <a:ext uri="{FF2B5EF4-FFF2-40B4-BE49-F238E27FC236}">
                <a16:creationId xmlns:a16="http://schemas.microsoft.com/office/drawing/2014/main" xmlns="" id="{D26033AC-E99E-4309-BD9B-47A98BA0DEA7}"/>
              </a:ext>
            </a:extLst>
          </p:cNvPr>
          <p:cNvSpPr/>
          <p:nvPr/>
        </p:nvSpPr>
        <p:spPr>
          <a:xfrm>
            <a:off x="2827900" y="1792592"/>
            <a:ext cx="124240" cy="124240"/>
          </a:xfrm>
          <a:prstGeom prst="ellipse">
            <a:avLst/>
          </a:prstGeom>
          <a:solidFill>
            <a:srgbClr val="EE95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0" name="Oval 19">
            <a:extLst>
              <a:ext uri="{FF2B5EF4-FFF2-40B4-BE49-F238E27FC236}">
                <a16:creationId xmlns:a16="http://schemas.microsoft.com/office/drawing/2014/main" xmlns="" id="{037A3CB3-AA60-41C6-B92B-B84EC0A87E61}"/>
              </a:ext>
            </a:extLst>
          </p:cNvPr>
          <p:cNvSpPr/>
          <p:nvPr/>
        </p:nvSpPr>
        <p:spPr>
          <a:xfrm>
            <a:off x="2796372" y="2320250"/>
            <a:ext cx="190500" cy="190500"/>
          </a:xfrm>
          <a:prstGeom prst="ellipse">
            <a:avLst/>
          </a:prstGeom>
          <a:solidFill>
            <a:srgbClr val="EE95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xmlns="" id="{E623F98E-5FFF-4701-A99F-87B202C66033}"/>
              </a:ext>
            </a:extLst>
          </p:cNvPr>
          <p:cNvSpPr txBox="1"/>
          <p:nvPr/>
        </p:nvSpPr>
        <p:spPr>
          <a:xfrm>
            <a:off x="4601993" y="5786214"/>
            <a:ext cx="127282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EF3078"/>
              </a:buClr>
            </a:pPr>
            <a:r>
              <a:rPr lang="ru-RU" sz="12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рам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  <a:p>
            <a:pPr marL="177800" indent="-177800">
              <a:buClr>
                <a:srgbClr val="EF3078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ҚК</a:t>
            </a:r>
          </a:p>
          <a:p>
            <a:pPr marL="177800" indent="-177800">
              <a:buClr>
                <a:srgbClr val="EF3078"/>
              </a:buClr>
              <a:buFont typeface="Wingdings" panose="05000000000000000000" pitchFamily="2" charset="2"/>
              <a:buChar char="§"/>
            </a:pPr>
            <a:r>
              <a:rPr lang="ru-RU" sz="12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стамашы</a:t>
            </a:r>
            <a:endParaRPr lang="ru-RU" sz="1200" dirty="0">
              <a:solidFill>
                <a:schemeClr val="bg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7800" indent="-177800">
              <a:buClr>
                <a:srgbClr val="EF3078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ТҰ</a:t>
            </a:r>
            <a:endParaRPr lang="ru-RU" sz="1200" dirty="0">
              <a:solidFill>
                <a:schemeClr val="bg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22" name="Straight Connector 68">
            <a:extLst>
              <a:ext uri="{FF2B5EF4-FFF2-40B4-BE49-F238E27FC236}">
                <a16:creationId xmlns:a16="http://schemas.microsoft.com/office/drawing/2014/main" xmlns="" id="{3FE4C8AC-856E-47A1-86C3-D3143F6DF56B}"/>
              </a:ext>
            </a:extLst>
          </p:cNvPr>
          <p:cNvCxnSpPr>
            <a:cxnSpLocks/>
          </p:cNvCxnSpPr>
          <p:nvPr/>
        </p:nvCxnSpPr>
        <p:spPr>
          <a:xfrm>
            <a:off x="2147187" y="941819"/>
            <a:ext cx="2048865" cy="0"/>
          </a:xfrm>
          <a:prstGeom prst="line">
            <a:avLst/>
          </a:prstGeom>
          <a:ln w="19050">
            <a:solidFill>
              <a:srgbClr val="EE95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Прямоугольник 122"/>
          <p:cNvSpPr/>
          <p:nvPr/>
        </p:nvSpPr>
        <p:spPr>
          <a:xfrm>
            <a:off x="1516280" y="3330064"/>
            <a:ext cx="67999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 </a:t>
            </a:r>
            <a:r>
              <a:rPr lang="ru-RU" sz="1400" b="1" dirty="0" err="1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үн</a:t>
            </a:r>
            <a:endParaRPr lang="ru-RU" sz="1400" b="1" dirty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4" name="Прямоугольник 123"/>
          <p:cNvSpPr/>
          <p:nvPr/>
        </p:nvSpPr>
        <p:spPr>
          <a:xfrm>
            <a:off x="3659646" y="3330064"/>
            <a:ext cx="79380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0 </a:t>
            </a:r>
            <a:r>
              <a:rPr lang="ru-RU" sz="1400" b="1" dirty="0" err="1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үн</a:t>
            </a:r>
            <a:endParaRPr lang="ru-RU" sz="1400" b="1" dirty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xmlns="" id="{E623F98E-5FFF-4701-A99F-87B202C66033}"/>
              </a:ext>
            </a:extLst>
          </p:cNvPr>
          <p:cNvSpPr txBox="1"/>
          <p:nvPr/>
        </p:nvSpPr>
        <p:spPr>
          <a:xfrm>
            <a:off x="5952221" y="941819"/>
            <a:ext cx="16941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EF3078"/>
              </a:buClr>
            </a:pPr>
            <a:r>
              <a:rPr lang="ru-RU" sz="12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рам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  <a:p>
            <a:pPr marL="177800" indent="-177800">
              <a:buClr>
                <a:srgbClr val="1C7CBB"/>
              </a:buClr>
              <a:buFont typeface="Wingdings" panose="05000000000000000000" pitchFamily="2" charset="2"/>
              <a:buChar char="§"/>
            </a:pPr>
            <a:r>
              <a:rPr lang="kk-KZ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мұрық-Қазына</a:t>
            </a:r>
            <a:endParaRPr lang="ru-RU" sz="1200" dirty="0" smtClean="0">
              <a:solidFill>
                <a:schemeClr val="bg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7800" indent="-177800">
              <a:buClr>
                <a:srgbClr val="1C7CBB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ҚК</a:t>
            </a:r>
          </a:p>
          <a:p>
            <a:pPr marL="177800" indent="-177800">
              <a:buClr>
                <a:srgbClr val="1C7CBB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ТҰ</a:t>
            </a:r>
            <a:endParaRPr lang="ru-RU" sz="1200" dirty="0">
              <a:solidFill>
                <a:schemeClr val="bg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9" name="Circle: Hollow 30">
            <a:extLst>
              <a:ext uri="{FF2B5EF4-FFF2-40B4-BE49-F238E27FC236}">
                <a16:creationId xmlns:a16="http://schemas.microsoft.com/office/drawing/2014/main" xmlns="" id="{FB3E2DCF-4068-4715-BD27-13370B541EAC}"/>
              </a:ext>
            </a:extLst>
          </p:cNvPr>
          <p:cNvSpPr/>
          <p:nvPr/>
        </p:nvSpPr>
        <p:spPr>
          <a:xfrm>
            <a:off x="2540393" y="3346357"/>
            <a:ext cx="694370" cy="694370"/>
          </a:xfrm>
          <a:prstGeom prst="donut">
            <a:avLst>
              <a:gd name="adj" fmla="val 287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0" name="Прямоугольник 129"/>
          <p:cNvSpPr/>
          <p:nvPr/>
        </p:nvSpPr>
        <p:spPr>
          <a:xfrm>
            <a:off x="5691338" y="3330064"/>
            <a:ext cx="67999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 </a:t>
            </a:r>
            <a:r>
              <a:rPr lang="ru-RU" sz="1400" b="1" dirty="0" err="1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үн</a:t>
            </a:r>
            <a:endParaRPr lang="ru-RU" sz="1400" b="1" dirty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1" name="Прямоугольник 130"/>
          <p:cNvSpPr/>
          <p:nvPr/>
        </p:nvSpPr>
        <p:spPr>
          <a:xfrm>
            <a:off x="7201520" y="3330064"/>
            <a:ext cx="79380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5 </a:t>
            </a:r>
            <a:r>
              <a:rPr lang="ru-RU" sz="1400" b="1" dirty="0" err="1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үн</a:t>
            </a:r>
            <a:endParaRPr lang="ru-RU" sz="1400" b="1" dirty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6" name="Прямоугольник 135"/>
          <p:cNvSpPr/>
          <p:nvPr/>
        </p:nvSpPr>
        <p:spPr>
          <a:xfrm>
            <a:off x="8726388" y="3330064"/>
            <a:ext cx="87395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≤2</a:t>
            </a:r>
            <a:r>
              <a:rPr lang="kk-KZ" sz="14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ыл</a:t>
            </a:r>
            <a:endParaRPr lang="ru-RU" sz="1400" b="1" dirty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7" name="Прямоугольник 136"/>
          <p:cNvSpPr/>
          <p:nvPr/>
        </p:nvSpPr>
        <p:spPr>
          <a:xfrm>
            <a:off x="10240542" y="3330064"/>
            <a:ext cx="67999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 </a:t>
            </a:r>
            <a:r>
              <a:rPr lang="ru-RU" sz="1400" b="1" dirty="0" err="1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үн</a:t>
            </a:r>
            <a:endParaRPr lang="ru-RU" sz="1400" b="1" dirty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xmlns="" id="{E623F98E-5FFF-4701-A99F-87B202C66033}"/>
              </a:ext>
            </a:extLst>
          </p:cNvPr>
          <p:cNvSpPr txBox="1"/>
          <p:nvPr/>
        </p:nvSpPr>
        <p:spPr>
          <a:xfrm>
            <a:off x="10453346" y="5157192"/>
            <a:ext cx="171672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EF3078"/>
              </a:buClr>
            </a:pPr>
            <a:r>
              <a:rPr lang="ru-RU" sz="12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ұрам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  <a:p>
            <a:pPr marL="177800" indent="-177800">
              <a:buClr>
                <a:srgbClr val="1C7CBB"/>
              </a:buClr>
              <a:buFont typeface="Wingdings" panose="05000000000000000000" pitchFamily="2" charset="2"/>
              <a:buChar char="§"/>
            </a:pPr>
            <a:r>
              <a:rPr lang="kk-KZ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мұрық-Қазына</a:t>
            </a:r>
            <a:endParaRPr lang="ru-RU" sz="1200" dirty="0" smtClean="0">
              <a:solidFill>
                <a:schemeClr val="bg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7800" indent="-177800">
              <a:buClr>
                <a:srgbClr val="1C7CBB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ҚК</a:t>
            </a:r>
          </a:p>
          <a:p>
            <a:pPr marL="177800" indent="-177800">
              <a:buClr>
                <a:srgbClr val="1C7CBB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ТҰ</a:t>
            </a:r>
          </a:p>
          <a:p>
            <a:pPr marL="177800" indent="-177800">
              <a:buClr>
                <a:srgbClr val="1C7CBB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ru-RU" sz="12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тамекен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 ҰКП</a:t>
            </a:r>
          </a:p>
          <a:p>
            <a:pPr marL="177800" indent="-177800">
              <a:buClr>
                <a:srgbClr val="1C7CBB"/>
              </a:buClr>
              <a:buFont typeface="Wingdings" panose="05000000000000000000" pitchFamily="2" charset="2"/>
              <a:buChar char="§"/>
            </a:pPr>
            <a:r>
              <a:rPr lang="ru-RU" sz="12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лалық</a:t>
            </a:r>
            <a:r>
              <a:rPr lang="ru-RU" sz="12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ірлестіктер</a:t>
            </a:r>
            <a:endParaRPr lang="ru-RU" sz="1200" dirty="0">
              <a:solidFill>
                <a:schemeClr val="bg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9" name="Circle: Hollow 30">
            <a:extLst>
              <a:ext uri="{FF2B5EF4-FFF2-40B4-BE49-F238E27FC236}">
                <a16:creationId xmlns:a16="http://schemas.microsoft.com/office/drawing/2014/main" xmlns="" id="{FB3E2DCF-4068-4715-BD27-13370B541EAC}"/>
              </a:ext>
            </a:extLst>
          </p:cNvPr>
          <p:cNvSpPr/>
          <p:nvPr/>
        </p:nvSpPr>
        <p:spPr>
          <a:xfrm>
            <a:off x="2540393" y="2068940"/>
            <a:ext cx="694370" cy="694370"/>
          </a:xfrm>
          <a:prstGeom prst="donut">
            <a:avLst>
              <a:gd name="adj" fmla="val 287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0" name="Circle: Hollow 30">
            <a:extLst>
              <a:ext uri="{FF2B5EF4-FFF2-40B4-BE49-F238E27FC236}">
                <a16:creationId xmlns:a16="http://schemas.microsoft.com/office/drawing/2014/main" xmlns="" id="{FB3E2DCF-4068-4715-BD27-13370B541EAC}"/>
              </a:ext>
            </a:extLst>
          </p:cNvPr>
          <p:cNvSpPr/>
          <p:nvPr/>
        </p:nvSpPr>
        <p:spPr>
          <a:xfrm>
            <a:off x="2540393" y="4653136"/>
            <a:ext cx="694370" cy="694370"/>
          </a:xfrm>
          <a:prstGeom prst="donut">
            <a:avLst>
              <a:gd name="adj" fmla="val 287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0" name="Шеврон 149"/>
          <p:cNvSpPr/>
          <p:nvPr/>
        </p:nvSpPr>
        <p:spPr>
          <a:xfrm>
            <a:off x="6090212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. ПКО</a:t>
            </a:r>
          </a:p>
        </p:txBody>
      </p:sp>
      <p:sp>
        <p:nvSpPr>
          <p:cNvPr id="151" name="Шеврон 150"/>
          <p:cNvSpPr/>
          <p:nvPr/>
        </p:nvSpPr>
        <p:spPr>
          <a:xfrm>
            <a:off x="9095936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. ЕНС ТРУ</a:t>
            </a:r>
          </a:p>
        </p:txBody>
      </p:sp>
      <p:sp>
        <p:nvSpPr>
          <p:cNvPr id="152" name="Пятиугольник 151"/>
          <p:cNvSpPr/>
          <p:nvPr/>
        </p:nvSpPr>
        <p:spPr>
          <a:xfrm>
            <a:off x="76356" y="47575"/>
            <a:ext cx="3024000" cy="180000"/>
          </a:xfrm>
          <a:prstGeom prst="homePlate">
            <a:avLst/>
          </a:prstGeom>
          <a:solidFill>
            <a:srgbClr val="17335D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kk-KZ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</a:t>
            </a:r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ФТЕЙК-КЕЛІСІМШАРТТАР</a:t>
            </a:r>
            <a:endParaRPr lang="ru-RU" sz="10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3" name="Шеврон 152"/>
          <p:cNvSpPr/>
          <p:nvPr/>
        </p:nvSpPr>
        <p:spPr>
          <a:xfrm>
            <a:off x="3082080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РЕЕСТРЛЕР (ТПФ/ОИН)</a:t>
            </a:r>
          </a:p>
        </p:txBody>
      </p:sp>
    </p:spTree>
    <p:extLst>
      <p:ext uri="{BB962C8B-B14F-4D97-AF65-F5344CB8AC3E}">
        <p14:creationId xmlns:p14="http://schemas.microsoft.com/office/powerpoint/2010/main" val="10100794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3500"/>
                            </p:stCondLst>
                            <p:childTnLst>
                              <p:par>
                                <p:cTn id="5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4000"/>
                            </p:stCondLst>
                            <p:childTnLst>
                              <p:par>
                                <p:cTn id="5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500"/>
                            </p:stCondLst>
                            <p:childTnLst>
                              <p:par>
                                <p:cTn id="6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5000"/>
                            </p:stCondLst>
                            <p:childTnLst>
                              <p:par>
                                <p:cTn id="6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5500"/>
                            </p:stCondLst>
                            <p:childTnLst>
                              <p:par>
                                <p:cTn id="7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6000"/>
                            </p:stCondLst>
                            <p:childTnLst>
                              <p:par>
                                <p:cTn id="8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6500"/>
                            </p:stCondLst>
                            <p:childTnLst>
                              <p:par>
                                <p:cTn id="8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7000"/>
                            </p:stCondLst>
                            <p:childTnLst>
                              <p:par>
                                <p:cTn id="9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4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7500"/>
                            </p:stCondLst>
                            <p:childTnLst>
                              <p:par>
                                <p:cTn id="9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8000"/>
                            </p:stCondLst>
                            <p:childTnLst>
                              <p:par>
                                <p:cTn id="10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8500"/>
                            </p:stCondLst>
                            <p:childTnLst>
                              <p:par>
                                <p:cTn id="1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9000"/>
                            </p:stCondLst>
                            <p:childTnLst>
                              <p:par>
                                <p:cTn id="1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9500"/>
                            </p:stCondLst>
                            <p:childTnLst>
                              <p:par>
                                <p:cTn id="12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6" fill="hold">
                            <p:stCondLst>
                              <p:cond delay="10000"/>
                            </p:stCondLst>
                            <p:childTnLst>
                              <p:par>
                                <p:cTn id="12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9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10500"/>
                            </p:stCondLst>
                            <p:childTnLst>
                              <p:par>
                                <p:cTn id="13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5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8" fill="hold">
                            <p:stCondLst>
                              <p:cond delay="11000"/>
                            </p:stCondLst>
                            <p:childTnLst>
                              <p:par>
                                <p:cTn id="13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2" fill="hold">
                            <p:stCondLst>
                              <p:cond delay="11500"/>
                            </p:stCondLst>
                            <p:childTnLst>
                              <p:par>
                                <p:cTn id="14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5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1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2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3" fill="hold">
                            <p:stCondLst>
                              <p:cond delay="12000"/>
                            </p:stCondLst>
                            <p:childTnLst>
                              <p:par>
                                <p:cTn id="15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6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7" fill="hold">
                            <p:stCondLst>
                              <p:cond delay="12500"/>
                            </p:stCondLst>
                            <p:childTnLst>
                              <p:par>
                                <p:cTn id="15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1" fill="hold">
                            <p:stCondLst>
                              <p:cond delay="13000"/>
                            </p:stCondLst>
                            <p:childTnLst>
                              <p:par>
                                <p:cTn id="16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4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5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6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7" fill="hold">
                            <p:stCondLst>
                              <p:cond delay="13500"/>
                            </p:stCondLst>
                            <p:childTnLst>
                              <p:par>
                                <p:cTn id="16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0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1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3" fill="hold">
                            <p:stCondLst>
                              <p:cond delay="14000"/>
                            </p:stCondLst>
                            <p:childTnLst>
                              <p:par>
                                <p:cTn id="17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6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7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8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9" fill="hold">
                            <p:stCondLst>
                              <p:cond delay="14500"/>
                            </p:stCondLst>
                            <p:childTnLst>
                              <p:par>
                                <p:cTn id="18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2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3" fill="hold">
                            <p:stCondLst>
                              <p:cond delay="15000"/>
                            </p:stCondLst>
                            <p:childTnLst>
                              <p:par>
                                <p:cTn id="18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7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8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9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1" dur="1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2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3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4" fill="hold">
                            <p:stCondLst>
                              <p:cond delay="16000"/>
                            </p:stCondLst>
                            <p:childTnLst>
                              <p:par>
                                <p:cTn id="19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8" fill="hold">
                            <p:stCondLst>
                              <p:cond delay="16500"/>
                            </p:stCondLst>
                            <p:childTnLst>
                              <p:par>
                                <p:cTn id="19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4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5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6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7" fill="hold">
                            <p:stCondLst>
                              <p:cond delay="17000"/>
                            </p:stCondLst>
                            <p:childTnLst>
                              <p:par>
                                <p:cTn id="20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0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1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2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3" fill="hold">
                            <p:stCondLst>
                              <p:cond delay="17500"/>
                            </p:stCondLst>
                            <p:childTnLst>
                              <p:par>
                                <p:cTn id="21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6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7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8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9" fill="hold">
                            <p:stCondLst>
                              <p:cond delay="18000"/>
                            </p:stCondLst>
                            <p:childTnLst>
                              <p:par>
                                <p:cTn id="22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2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3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4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5" fill="hold">
                            <p:stCondLst>
                              <p:cond delay="18500"/>
                            </p:stCondLst>
                            <p:childTnLst>
                              <p:par>
                                <p:cTn id="22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8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9" fill="hold">
                            <p:stCondLst>
                              <p:cond delay="19000"/>
                            </p:stCondLst>
                            <p:childTnLst>
                              <p:par>
                                <p:cTn id="23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2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3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4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7" dur="1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8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9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0" fill="hold">
                            <p:stCondLst>
                              <p:cond delay="20000"/>
                            </p:stCondLst>
                            <p:childTnLst>
                              <p:par>
                                <p:cTn id="2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3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4" fill="hold">
                            <p:stCondLst>
                              <p:cond delay="20500"/>
                            </p:stCondLst>
                            <p:childTnLst>
                              <p:par>
                                <p:cTn id="24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7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8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9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0" fill="hold">
                            <p:stCondLst>
                              <p:cond delay="21000"/>
                            </p:stCondLst>
                            <p:childTnLst>
                              <p:par>
                                <p:cTn id="25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3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4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5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6" fill="hold">
                            <p:stCondLst>
                              <p:cond delay="21500"/>
                            </p:stCondLst>
                            <p:childTnLst>
                              <p:par>
                                <p:cTn id="25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9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0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1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2" fill="hold">
                            <p:stCondLst>
                              <p:cond delay="22000"/>
                            </p:stCondLst>
                            <p:childTnLst>
                              <p:par>
                                <p:cTn id="26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5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6" fill="hold">
                            <p:stCondLst>
                              <p:cond delay="22500"/>
                            </p:stCondLst>
                            <p:childTnLst>
                              <p:par>
                                <p:cTn id="26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9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0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1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4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5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6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7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9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0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1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2" fill="hold">
                            <p:stCondLst>
                              <p:cond delay="23000"/>
                            </p:stCondLst>
                            <p:childTnLst>
                              <p:par>
                                <p:cTn id="28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5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6" fill="hold">
                            <p:stCondLst>
                              <p:cond delay="23500"/>
                            </p:stCondLst>
                            <p:childTnLst>
                              <p:par>
                                <p:cTn id="28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9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0" dur="5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1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2" fill="hold">
                            <p:stCondLst>
                              <p:cond delay="24000"/>
                            </p:stCondLst>
                            <p:childTnLst>
                              <p:par>
                                <p:cTn id="29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5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6" fill="hold">
                            <p:stCondLst>
                              <p:cond delay="24500"/>
                            </p:stCondLst>
                            <p:childTnLst>
                              <p:par>
                                <p:cTn id="29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9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0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1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2" fill="hold">
                            <p:stCondLst>
                              <p:cond delay="25000"/>
                            </p:stCondLst>
                            <p:childTnLst>
                              <p:par>
                                <p:cTn id="30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5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6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7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0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1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2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5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6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7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1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2" dur="5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3" fill="hold">
                            <p:stCondLst>
                              <p:cond delay="25500"/>
                            </p:stCondLst>
                            <p:childTnLst>
                              <p:par>
                                <p:cTn id="32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6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7" fill="hold">
                            <p:stCondLst>
                              <p:cond delay="26000"/>
                            </p:stCondLst>
                            <p:childTnLst>
                              <p:par>
                                <p:cTn id="32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0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1" dur="500" fill="hold"/>
                                        <p:tgtEl>
                                          <p:spTgt spid="1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2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3" fill="hold">
                            <p:stCondLst>
                              <p:cond delay="26500"/>
                            </p:stCondLst>
                            <p:childTnLst>
                              <p:par>
                                <p:cTn id="33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6" dur="5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7" dur="5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8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1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2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3" dur="5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4" fill="hold">
                            <p:stCondLst>
                              <p:cond delay="27000"/>
                            </p:stCondLst>
                            <p:childTnLst>
                              <p:par>
                                <p:cTn id="34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7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0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1" dur="5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2" dur="5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3" fill="hold">
                            <p:stCondLst>
                              <p:cond delay="27500"/>
                            </p:stCondLst>
                            <p:childTnLst>
                              <p:par>
                                <p:cTn id="35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6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7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8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1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2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3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4" fill="hold">
                            <p:stCondLst>
                              <p:cond delay="28000"/>
                            </p:stCondLst>
                            <p:childTnLst>
                              <p:par>
                                <p:cTn id="36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7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8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9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0" fill="hold">
                            <p:stCondLst>
                              <p:cond delay="28500"/>
                            </p:stCondLst>
                            <p:childTnLst>
                              <p:par>
                                <p:cTn id="37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3" dur="5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4" dur="500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5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25" grpId="0" animBg="1"/>
      <p:bldP spid="26" grpId="0" animBg="1"/>
      <p:bldP spid="27" grpId="0" animBg="1"/>
      <p:bldP spid="29" grpId="0" animBg="1"/>
      <p:bldP spid="30" grpId="0"/>
      <p:bldP spid="33" grpId="0" animBg="1"/>
      <p:bldP spid="34" grpId="0" animBg="1"/>
      <p:bldP spid="38" grpId="0"/>
      <p:bldP spid="41" grpId="0" animBg="1"/>
      <p:bldP spid="42" grpId="0" animBg="1"/>
      <p:bldP spid="43" grpId="0" animBg="1"/>
      <p:bldP spid="45" grpId="0" animBg="1"/>
      <p:bldP spid="46" grpId="0"/>
      <p:bldP spid="49" grpId="0" animBg="1"/>
      <p:bldP spid="50" grpId="0" animBg="1"/>
      <p:bldP spid="51" grpId="0" animBg="1"/>
      <p:bldP spid="53" grpId="0" animBg="1"/>
      <p:bldP spid="54" grpId="0"/>
      <p:bldP spid="57" grpId="0" animBg="1"/>
      <p:bldP spid="58" grpId="0" animBg="1"/>
      <p:bldP spid="59" grpId="0" animBg="1"/>
      <p:bldP spid="61" grpId="0" animBg="1"/>
      <p:bldP spid="62" grpId="0"/>
      <p:bldP spid="75" grpId="0"/>
      <p:bldP spid="77" grpId="0" animBg="1"/>
      <p:bldP spid="78" grpId="0" animBg="1"/>
      <p:bldP spid="79" grpId="0" animBg="1"/>
      <p:bldP spid="82" grpId="0" animBg="1"/>
      <p:bldP spid="86" grpId="0"/>
      <p:bldP spid="101" grpId="0" animBg="1"/>
      <p:bldP spid="102" grpId="0" animBg="1"/>
      <p:bldP spid="103" grpId="0" animBg="1"/>
      <p:bldP spid="105" grpId="0" animBg="1"/>
      <p:bldP spid="106" grpId="0"/>
      <p:bldP spid="107" grpId="0"/>
      <p:bldP spid="109" grpId="0" animBg="1"/>
      <p:bldP spid="113" grpId="0" animBg="1"/>
      <p:bldP spid="114" grpId="0" animBg="1"/>
      <p:bldP spid="115" grpId="0"/>
      <p:bldP spid="116" grpId="0"/>
      <p:bldP spid="117" grpId="0"/>
      <p:bldP spid="119" grpId="0" animBg="1"/>
      <p:bldP spid="120" grpId="0" animBg="1"/>
      <p:bldP spid="121" grpId="0"/>
      <p:bldP spid="125" grpId="0"/>
      <p:bldP spid="129" grpId="0" animBg="1"/>
      <p:bldP spid="138" grpId="0"/>
      <p:bldP spid="139" grpId="0" animBg="1"/>
      <p:bldP spid="14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033885" y="332656"/>
            <a:ext cx="1124278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kk-KZ" sz="24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ИТЕРИЙЛЕР</a:t>
            </a:r>
            <a:endParaRPr kumimoji="0" lang="ru-RU" sz="20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4658337"/>
              </p:ext>
            </p:extLst>
          </p:nvPr>
        </p:nvGraphicFramePr>
        <p:xfrm>
          <a:off x="98853" y="908718"/>
          <a:ext cx="11936626" cy="589984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4623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33013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1862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2418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8250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87132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788059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913074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793613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787132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788059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777872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</a:tblGrid>
              <a:tr h="284285"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i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№</a:t>
                      </a:r>
                      <a:endParaRPr lang="ru-RU" sz="1100" i="0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i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РИТЕРИЙЛЕР</a:t>
                      </a:r>
                      <a:endParaRPr lang="ru-RU" sz="1100" i="0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 балл</a:t>
                      </a:r>
                      <a:endParaRPr lang="ru-RU" sz="1100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68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 балл</a:t>
                      </a:r>
                      <a:endParaRPr lang="ru-RU" sz="1100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9B1C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 балл</a:t>
                      </a:r>
                      <a:endParaRPr lang="ru-RU" sz="1100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A1A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3168"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ехникалық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айындаманың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олуы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әжірибелік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үлгі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асалды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нструкторлық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ұжаттамасы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бар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Ғылыми-зерттеу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әне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әжірибелік-конструкторлық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ұмыстар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kk-KZ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ажет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90802"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аржы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есурстарының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олуы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ншікті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аражат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артылған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аражаттың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(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арыз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субсидия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әне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.б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)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олуы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аражат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ажет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23168"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нвестицияның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айда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олуы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шетелдік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шетелдік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әне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азақстандық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азақстандық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84750"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Өнімнің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оспарланған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ұны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ЕТҰ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ұнының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ңгейінен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өмен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ЕТҰ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атып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лу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ұны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ңгейінде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ЕТҰ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атып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лу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ұнынан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оғары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83992"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000" b="1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000" b="1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 </a:t>
                      </a:r>
                      <a:r>
                        <a:rPr lang="ru-RU" sz="1100" b="1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лл</a:t>
                      </a:r>
                      <a:endParaRPr lang="ru-RU" sz="1100" b="1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68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 </a:t>
                      </a:r>
                      <a:r>
                        <a:rPr lang="ru-RU" sz="1100" b="1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лл</a:t>
                      </a:r>
                      <a:endParaRPr lang="ru-RU" sz="1100" b="1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9B1C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 </a:t>
                      </a:r>
                      <a:r>
                        <a:rPr lang="ru-RU" sz="1100" b="1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лл</a:t>
                      </a:r>
                      <a:endParaRPr lang="ru-RU" sz="1100" b="1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9B1C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 </a:t>
                      </a:r>
                      <a:r>
                        <a:rPr lang="ru-RU" sz="1100" b="1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лл</a:t>
                      </a:r>
                      <a:endParaRPr lang="ru-RU" sz="1100" b="1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A1A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 балл</a:t>
                      </a: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A1A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84750"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Өндірістік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заның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олуы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ншікті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ншікті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әне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алға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лынған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алға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лынған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алға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лынған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әне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осымша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алап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етіледі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алап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етіледі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84750"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Өндірістік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абдықтардың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олуы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ншікті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ншікті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әне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алға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лынған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алға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лынған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алға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лынған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әне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осымша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алап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етіледі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алап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етіледі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23168"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азақстандық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адрлардың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үлесі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0%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оғары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0%-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ен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</a:t>
                      </a:r>
                      <a:r>
                        <a:rPr lang="ru-RU" sz="1050" i="1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0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%-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е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йін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0%-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ен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0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%-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ге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ін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%-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ен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40%-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ге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йін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%-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ен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кем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84750"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ұрылатын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ұмыс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рындарының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саны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оғары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0</a:t>
                      </a: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5-тен  100-ге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йін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0-ден 75-ке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йін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5-тен 50-ке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йін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5-тен кем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84750"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нвестициялар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өлемі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(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шикізат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атып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луға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ұмсалған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шығындарды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есепке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лмағанда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)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 </a:t>
                      </a:r>
                      <a:r>
                        <a:rPr lang="ru-RU" sz="1050" i="1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лрд.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еңгеден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оғары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50 </a:t>
                      </a:r>
                      <a:r>
                        <a:rPr lang="ru-RU" sz="1050" i="1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лн.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еңгеден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</a:p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 </a:t>
                      </a:r>
                      <a:r>
                        <a:rPr lang="ru-RU" sz="1050" i="1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лрд.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еңгеге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йін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00-ден </a:t>
                      </a:r>
                      <a:r>
                        <a:rPr lang="ru-RU" sz="1050" i="1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50 млн.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еңгеге</a:t>
                      </a:r>
                      <a:r>
                        <a:rPr lang="ru-RU" sz="1050" i="1" baseline="0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baseline="0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йін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50-ден 500 </a:t>
                      </a:r>
                      <a:r>
                        <a:rPr lang="ru-RU" sz="1050" i="1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лн.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еңгеге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йін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50 </a:t>
                      </a:r>
                      <a:r>
                        <a:rPr lang="ru-RU" sz="1050" i="1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лн.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еңгеге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йін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92643"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епілдік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рзімі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ылдан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оғары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-тен </a:t>
                      </a:r>
                      <a:r>
                        <a:rPr lang="ru-RU" sz="1050" i="1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ылға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йін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-ден 3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ылға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йін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-ден 2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ылға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йін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  <a:r>
                        <a:rPr lang="kk-KZ" sz="1050" i="1" baseline="0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жылға дейін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23168"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1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обаның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өтелу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рзімі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kk-KZ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  <a:r>
                        <a:rPr lang="kk-KZ" sz="1050" i="1" baseline="0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жылға дейін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-ден 2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ылға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йін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-ден 3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ылға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йін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-тен 4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ылға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йін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ылдан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оғары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23168">
                <a:tc gridSpan="2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000" b="1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000" b="1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 балл</a:t>
                      </a:r>
                      <a:endParaRPr lang="ru-RU" sz="1100" b="1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689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 </a:t>
                      </a:r>
                      <a:r>
                        <a:rPr lang="ru-RU" sz="1100" b="1" kern="1200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лл</a:t>
                      </a:r>
                      <a:endParaRPr lang="ru-RU" sz="1100" b="1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689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 </a:t>
                      </a:r>
                      <a:r>
                        <a:rPr lang="ru-RU" sz="1100" b="1" kern="1200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лл </a:t>
                      </a:r>
                      <a:endParaRPr lang="ru-RU" sz="1100" b="1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9B1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91465" algn="l"/>
                        </a:tabLst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 </a:t>
                      </a:r>
                      <a:r>
                        <a:rPr lang="ru-RU" sz="1100" b="1" kern="1200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лл</a:t>
                      </a:r>
                      <a:endParaRPr lang="ru-RU" sz="1100" b="1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9B1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 </a:t>
                      </a:r>
                      <a:r>
                        <a:rPr lang="ru-RU" sz="1100" b="1" kern="1200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лл</a:t>
                      </a:r>
                      <a:endParaRPr lang="ru-RU" sz="1100" b="1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9B1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 </a:t>
                      </a:r>
                      <a:r>
                        <a:rPr lang="ru-RU" sz="1100" b="1" kern="1200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лл</a:t>
                      </a:r>
                      <a:endParaRPr lang="ru-RU" sz="1100" b="1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9B1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 </a:t>
                      </a:r>
                      <a:r>
                        <a:rPr lang="ru-RU" sz="1100" b="1" kern="1200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лл</a:t>
                      </a:r>
                      <a:endParaRPr lang="ru-RU" sz="1100" b="1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A1A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 </a:t>
                      </a:r>
                      <a:r>
                        <a:rPr lang="ru-RU" sz="1100" b="1" kern="1200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лл</a:t>
                      </a:r>
                      <a:endParaRPr lang="ru-RU" sz="1100" b="1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A1A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 </a:t>
                      </a:r>
                      <a:r>
                        <a:rPr lang="ru-RU" sz="1100" b="1" kern="1200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лл</a:t>
                      </a:r>
                      <a:endParaRPr lang="ru-RU" sz="1100" b="1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A1A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 </a:t>
                      </a:r>
                      <a:r>
                        <a:rPr lang="ru-RU" sz="1100" b="1" kern="1200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лл</a:t>
                      </a:r>
                      <a:endParaRPr lang="ru-RU" sz="1100" b="1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A1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408536"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ергілікті 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амтудың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олжамды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үлесі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(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үпкілікті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b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өнім</a:t>
                      </a:r>
                      <a:r>
                        <a:rPr lang="ru-RU" sz="1050" b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)</a:t>
                      </a:r>
                      <a:endParaRPr lang="ru-RU" sz="1050" b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0%</a:t>
                      </a: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0-99%</a:t>
                      </a: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0-89%</a:t>
                      </a: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0-79%</a:t>
                      </a: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0-69%</a:t>
                      </a: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0-59%</a:t>
                      </a: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0-49%</a:t>
                      </a: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0-39%</a:t>
                      </a: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-29%</a:t>
                      </a: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9%-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е</a:t>
                      </a:r>
                      <a:r>
                        <a:rPr lang="ru-RU" sz="1050" i="1" dirty="0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050" i="1" dirty="0" err="1" smtClean="0"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ейін</a:t>
                      </a:r>
                      <a:endParaRPr lang="ru-RU" sz="1050" i="1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0253" marR="40253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</a:tbl>
          </a:graphicData>
        </a:graphic>
      </p:graphicFrame>
      <p:sp>
        <p:nvSpPr>
          <p:cNvPr id="23" name="Шеврон 22"/>
          <p:cNvSpPr/>
          <p:nvPr/>
        </p:nvSpPr>
        <p:spPr>
          <a:xfrm>
            <a:off x="6090212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. ПКО</a:t>
            </a:r>
          </a:p>
        </p:txBody>
      </p:sp>
      <p:sp>
        <p:nvSpPr>
          <p:cNvPr id="24" name="Шеврон 23"/>
          <p:cNvSpPr/>
          <p:nvPr/>
        </p:nvSpPr>
        <p:spPr>
          <a:xfrm>
            <a:off x="9095936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. ЕНС ТРУ</a:t>
            </a:r>
          </a:p>
        </p:txBody>
      </p:sp>
      <p:sp>
        <p:nvSpPr>
          <p:cNvPr id="25" name="Пятиугольник 24"/>
          <p:cNvSpPr/>
          <p:nvPr/>
        </p:nvSpPr>
        <p:spPr>
          <a:xfrm>
            <a:off x="76356" y="47575"/>
            <a:ext cx="3024000" cy="180000"/>
          </a:xfrm>
          <a:prstGeom prst="homePlate">
            <a:avLst/>
          </a:prstGeom>
          <a:solidFill>
            <a:srgbClr val="17335D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kk-KZ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</a:t>
            </a:r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ФТЕЙК-КЕЛІСІМШАРТТАР</a:t>
            </a:r>
            <a:endParaRPr lang="ru-RU" sz="10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6" name="Шеврон 25"/>
          <p:cNvSpPr/>
          <p:nvPr/>
        </p:nvSpPr>
        <p:spPr>
          <a:xfrm>
            <a:off x="3082080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РЕЕСТРЛЕР (ТПФ/ОИН)</a:t>
            </a:r>
          </a:p>
        </p:txBody>
      </p:sp>
    </p:spTree>
    <p:extLst>
      <p:ext uri="{BB962C8B-B14F-4D97-AF65-F5344CB8AC3E}">
        <p14:creationId xmlns:p14="http://schemas.microsoft.com/office/powerpoint/2010/main" val="1050655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979574" y="317870"/>
            <a:ext cx="1103877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kk-KZ" sz="240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ӘТИЖЕЛЕР</a:t>
            </a:r>
            <a:endParaRPr kumimoji="0" lang="ru-RU" sz="20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41" name="Таблица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1079410"/>
              </p:ext>
            </p:extLst>
          </p:nvPr>
        </p:nvGraphicFramePr>
        <p:xfrm>
          <a:off x="7032105" y="1196755"/>
          <a:ext cx="5112564" cy="5544607"/>
        </p:xfrm>
        <a:graphic>
          <a:graphicData uri="http://schemas.openxmlformats.org/drawingml/2006/table">
            <a:tbl>
              <a:tblPr/>
              <a:tblGrid>
                <a:gridCol w="42476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00692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68088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905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№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689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ӨНДІРУШІ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689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ӨНІМ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B68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507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"</a:t>
                      </a:r>
                      <a:r>
                        <a:rPr lang="ru-RU" sz="12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зия </a:t>
                      </a:r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рафо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" ЖШС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рансформаторлар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</a:t>
                      </a:r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еакторлар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507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1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</a:t>
                      </a:r>
                      <a:r>
                        <a:rPr lang="ru-RU" sz="12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рпорация связь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ЖШС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1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адиостанци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1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507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"</a:t>
                      </a:r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роммашкомплект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" ЖШС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ұтас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аптамалы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оңғалақ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507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1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ервис 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езопасности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1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Өрт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өндіргіш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FIREMAN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1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8915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"</a:t>
                      </a:r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азТЭЦ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" ЖШС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Вагон </a:t>
                      </a:r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яулатқышы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</a:t>
                      </a:r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ехникалық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ұралдар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ешені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507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1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"</a:t>
                      </a:r>
                      <a:r>
                        <a:rPr lang="ru-RU" sz="1200" u="none" strike="noStrike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етысу</a:t>
                      </a:r>
                      <a:r>
                        <a:rPr lang="ru-RU" sz="12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золятор" ЖШС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1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олимерлік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қшаулағыш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1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507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"</a:t>
                      </a:r>
                      <a:r>
                        <a:rPr lang="ru-RU" sz="12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Электрод 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К" ЖШС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Электродтар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507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1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"</a:t>
                      </a:r>
                      <a:r>
                        <a:rPr lang="en-US" sz="12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.W.S. </a:t>
                      </a:r>
                      <a:r>
                        <a:rPr lang="en-US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Wheelset"</a:t>
                      </a:r>
                      <a:r>
                        <a:rPr lang="kk-KZ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ШС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1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оңғалақ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ұбының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сі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1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507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"</a:t>
                      </a:r>
                      <a:r>
                        <a:rPr lang="ru-RU" sz="12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П ЭХЗ 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ехнологии" ЖШС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нодты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ерге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ұйықтағыштар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507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1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</a:t>
                      </a:r>
                      <a:r>
                        <a:rPr lang="en-US" sz="1200" u="none" strike="noStrike" dirty="0" err="1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GVision</a:t>
                      </a:r>
                      <a:r>
                        <a:rPr lang="en-US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</a:t>
                      </a:r>
                      <a:r>
                        <a:rPr lang="kk-KZ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ШС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1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ейнекамер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1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507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</a:t>
                      </a:r>
                      <a:r>
                        <a:rPr lang="en-US" sz="12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MG Automation</a:t>
                      </a:r>
                      <a:r>
                        <a:rPr lang="en-US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</a:t>
                      </a:r>
                      <a:r>
                        <a:rPr lang="kk-KZ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ШС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Қысым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атчиктері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507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1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</a:t>
                      </a:r>
                      <a:r>
                        <a:rPr lang="en-US" sz="12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arlskrona LS AB</a:t>
                      </a:r>
                      <a:r>
                        <a:rPr lang="en-US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</a:t>
                      </a:r>
                      <a:r>
                        <a:rPr lang="kk-KZ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ШС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1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орғы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грегаттары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1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507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</a:t>
                      </a:r>
                      <a:r>
                        <a:rPr lang="ru-RU" sz="12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Элтекс Алатау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ЖШС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ммутатор, телефон аппараты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507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4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1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</a:t>
                      </a:r>
                      <a:r>
                        <a:rPr lang="ru-RU" sz="12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.</a:t>
                      </a:r>
                      <a:r>
                        <a:rPr lang="en-US" sz="12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RIORI» 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ШС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1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еңсе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реслолары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1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507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5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</a:t>
                      </a:r>
                      <a:r>
                        <a:rPr lang="en-US" sz="12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Zhaik Petroleum</a:t>
                      </a:r>
                      <a:r>
                        <a:rPr lang="en-US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ЖШС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етанол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507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6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1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"Эпсилон Групп" ЖШС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1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альций </a:t>
                      </a:r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хлориді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1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2507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7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"ПРОММАШ.КЗ" ЖШС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өсемсіз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ғыттамалық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ұрм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2507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8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1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</a:t>
                      </a:r>
                      <a:r>
                        <a:rPr lang="en-US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SG Solution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ЖШС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1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Шөгінді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электрод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1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2507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</a:t>
                      </a:r>
                      <a:r>
                        <a:rPr lang="en-US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resto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ЖШС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елгілер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2507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1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baseline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«</a:t>
                      </a:r>
                      <a:r>
                        <a:rPr lang="ru-RU" sz="1200" u="none" strike="noStrike" baseline="0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Уральскагроремаш</a:t>
                      </a:r>
                      <a:r>
                        <a:rPr lang="ru-RU" sz="1200" u="none" strike="noStrike" baseline="0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» АҚ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1E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Жартылай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іркемелер</a:t>
                      </a:r>
                      <a:r>
                        <a:rPr lang="ru-RU" sz="1200" u="none" strike="noStrike" dirty="0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</a:t>
                      </a:r>
                      <a:r>
                        <a:rPr lang="ru-RU" sz="1200" u="none" strike="noStrike" dirty="0" err="1" smtClean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цистерналар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E1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0"/>
                  </a:ext>
                </a:extLst>
              </a:tr>
            </a:tbl>
          </a:graphicData>
        </a:graphic>
      </p:graphicFrame>
      <p:sp>
        <p:nvSpPr>
          <p:cNvPr id="2" name="Овал 1"/>
          <p:cNvSpPr/>
          <p:nvPr/>
        </p:nvSpPr>
        <p:spPr>
          <a:xfrm>
            <a:off x="165062" y="1014944"/>
            <a:ext cx="1132685" cy="1132685"/>
          </a:xfrm>
          <a:prstGeom prst="ellipse">
            <a:avLst/>
          </a:prstGeom>
          <a:solidFill>
            <a:srgbClr val="1B689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4" name="Овал 43"/>
          <p:cNvSpPr/>
          <p:nvPr/>
        </p:nvSpPr>
        <p:spPr>
          <a:xfrm>
            <a:off x="165062" y="2455104"/>
            <a:ext cx="1132685" cy="1132685"/>
          </a:xfrm>
          <a:prstGeom prst="ellipse">
            <a:avLst/>
          </a:prstGeom>
          <a:solidFill>
            <a:srgbClr val="1B689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5" name="Овал 44"/>
          <p:cNvSpPr/>
          <p:nvPr/>
        </p:nvSpPr>
        <p:spPr>
          <a:xfrm>
            <a:off x="165062" y="3901019"/>
            <a:ext cx="1132685" cy="1132685"/>
          </a:xfrm>
          <a:prstGeom prst="ellipse">
            <a:avLst/>
          </a:prstGeom>
          <a:solidFill>
            <a:srgbClr val="1B689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6" name="Овал 45"/>
          <p:cNvSpPr/>
          <p:nvPr/>
        </p:nvSpPr>
        <p:spPr>
          <a:xfrm>
            <a:off x="165062" y="5346934"/>
            <a:ext cx="1132685" cy="1132685"/>
          </a:xfrm>
          <a:prstGeom prst="ellipse">
            <a:avLst/>
          </a:prstGeom>
          <a:solidFill>
            <a:srgbClr val="1B689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7" name="Овал 46"/>
          <p:cNvSpPr/>
          <p:nvPr/>
        </p:nvSpPr>
        <p:spPr>
          <a:xfrm>
            <a:off x="3592362" y="1014944"/>
            <a:ext cx="1132685" cy="1132685"/>
          </a:xfrm>
          <a:prstGeom prst="ellipse">
            <a:avLst/>
          </a:prstGeom>
          <a:solidFill>
            <a:srgbClr val="1B689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8" name="Овал 47"/>
          <p:cNvSpPr/>
          <p:nvPr/>
        </p:nvSpPr>
        <p:spPr>
          <a:xfrm>
            <a:off x="3592362" y="2455104"/>
            <a:ext cx="1132685" cy="1132685"/>
          </a:xfrm>
          <a:prstGeom prst="ellipse">
            <a:avLst/>
          </a:prstGeom>
          <a:solidFill>
            <a:srgbClr val="1B689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9" name="Овал 48"/>
          <p:cNvSpPr/>
          <p:nvPr/>
        </p:nvSpPr>
        <p:spPr>
          <a:xfrm>
            <a:off x="3592362" y="3901019"/>
            <a:ext cx="1132685" cy="1132685"/>
          </a:xfrm>
          <a:prstGeom prst="ellipse">
            <a:avLst/>
          </a:prstGeom>
          <a:solidFill>
            <a:srgbClr val="1B689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0" name="Овал 49"/>
          <p:cNvSpPr/>
          <p:nvPr/>
        </p:nvSpPr>
        <p:spPr>
          <a:xfrm>
            <a:off x="3592362" y="5346934"/>
            <a:ext cx="1132685" cy="1132685"/>
          </a:xfrm>
          <a:prstGeom prst="ellipse">
            <a:avLst/>
          </a:prstGeom>
          <a:solidFill>
            <a:srgbClr val="1B6893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47136" y="1288898"/>
            <a:ext cx="96853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32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92</a:t>
            </a:r>
            <a:endParaRPr lang="ru-RU" sz="3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307466" y="1319676"/>
            <a:ext cx="176832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dirty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ФТЕЙК - КЕЛІСІМШАРТ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307466" y="2758836"/>
            <a:ext cx="185810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ШАРТТАРДЫҢ ЖАЛПЫ СОМАСЫ</a:t>
            </a:r>
            <a:endParaRPr lang="ru-RU" sz="14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377781" y="4171261"/>
            <a:ext cx="70724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32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4</a:t>
            </a:r>
            <a:endParaRPr lang="ru-RU" sz="3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1307466" y="4202039"/>
            <a:ext cx="176832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ЖОБА МАҚҰЛДАНДЫ</a:t>
            </a:r>
            <a:endParaRPr lang="ru-RU" sz="14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1307467" y="5658169"/>
            <a:ext cx="147616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АЛЫҚ КӨЛЕМІ</a:t>
            </a:r>
            <a:endParaRPr lang="ru-RU" sz="14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3931599" y="1288898"/>
            <a:ext cx="44595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2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endParaRPr lang="ru-RU" sz="3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4730639" y="1431440"/>
            <a:ext cx="1768325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spcBef>
                <a:spcPts val="600"/>
              </a:spcBef>
            </a:pPr>
            <a:r>
              <a:rPr lang="kk-KZ" sz="1400" b="1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МЕМОРАНДУМ</a:t>
            </a:r>
            <a:endParaRPr lang="ru-RU" sz="14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4730639" y="2758836"/>
            <a:ext cx="176832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dirty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ФТЕЙК - КЕЛІСІМШАРТ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3539664" y="4170951"/>
            <a:ext cx="122982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32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00</a:t>
            </a:r>
            <a:endParaRPr lang="ru-RU" sz="3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4730639" y="4202039"/>
            <a:ext cx="176832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ЖҰМЫС ОРНЫ АШЫЛДЫ</a:t>
            </a:r>
            <a:endParaRPr lang="ru-RU" sz="14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3" name="Прямоугольник 82"/>
          <p:cNvSpPr/>
          <p:nvPr/>
        </p:nvSpPr>
        <p:spPr>
          <a:xfrm>
            <a:off x="4730639" y="5658169"/>
            <a:ext cx="176832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ИНВЕСТИЦИЯ КӨЛЕМІ</a:t>
            </a:r>
            <a:endParaRPr lang="ru-RU" sz="14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302761" y="2684240"/>
            <a:ext cx="841038" cy="672411"/>
            <a:chOff x="302761" y="2650465"/>
            <a:chExt cx="841038" cy="672411"/>
          </a:xfrm>
        </p:grpSpPr>
        <p:sp>
          <p:nvSpPr>
            <p:cNvPr id="54" name="Прямоугольник 53"/>
            <p:cNvSpPr/>
            <p:nvPr/>
          </p:nvSpPr>
          <p:spPr>
            <a:xfrm>
              <a:off x="371561" y="2650465"/>
              <a:ext cx="707245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3200" b="1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82</a:t>
              </a:r>
              <a:endParaRPr lang="ru-RU" sz="3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4" name="Прямоугольник 83"/>
            <p:cNvSpPr/>
            <p:nvPr/>
          </p:nvSpPr>
          <p:spPr>
            <a:xfrm>
              <a:off x="302761" y="3068960"/>
              <a:ext cx="841038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050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лрд. </a:t>
              </a:r>
              <a:r>
                <a:rPr lang="ru-RU" sz="1050" dirty="0" err="1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тг</a:t>
              </a:r>
              <a:r>
                <a:rPr lang="ru-RU" sz="1050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.</a:t>
              </a:r>
              <a:endParaRPr lang="ru-RU" sz="105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91" name="Прямоугольник 90"/>
          <p:cNvSpPr/>
          <p:nvPr/>
        </p:nvSpPr>
        <p:spPr>
          <a:xfrm>
            <a:off x="8164433" y="849847"/>
            <a:ext cx="2847906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spcBef>
                <a:spcPts val="600"/>
              </a:spcBef>
            </a:pPr>
            <a:r>
              <a:rPr lang="kk-KZ" sz="1400" b="1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ЖАҢА ИГЕРІЛГЕН ӨНІМДЕР</a:t>
            </a:r>
            <a:endParaRPr lang="ru-RU" sz="14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4" name="Группа 33"/>
          <p:cNvGrpSpPr/>
          <p:nvPr/>
        </p:nvGrpSpPr>
        <p:grpSpPr>
          <a:xfrm>
            <a:off x="3730061" y="2654178"/>
            <a:ext cx="841038" cy="721900"/>
            <a:chOff x="302761" y="2650465"/>
            <a:chExt cx="841038" cy="721900"/>
          </a:xfrm>
        </p:grpSpPr>
        <p:sp>
          <p:nvSpPr>
            <p:cNvPr id="35" name="Прямоугольник 34"/>
            <p:cNvSpPr/>
            <p:nvPr/>
          </p:nvSpPr>
          <p:spPr>
            <a:xfrm>
              <a:off x="307441" y="2650465"/>
              <a:ext cx="835485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3200" b="1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2,2</a:t>
              </a:r>
              <a:endParaRPr lang="ru-RU" sz="3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302761" y="3118449"/>
              <a:ext cx="841038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050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лрд. </a:t>
              </a:r>
              <a:r>
                <a:rPr lang="ru-RU" sz="1050" dirty="0" err="1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тг</a:t>
              </a:r>
              <a:r>
                <a:rPr lang="ru-RU" sz="1050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.</a:t>
              </a:r>
              <a:endParaRPr lang="ru-RU" sz="105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37" name="Группа 36"/>
          <p:cNvGrpSpPr/>
          <p:nvPr/>
        </p:nvGrpSpPr>
        <p:grpSpPr>
          <a:xfrm>
            <a:off x="302761" y="5583573"/>
            <a:ext cx="841038" cy="672411"/>
            <a:chOff x="302761" y="2650465"/>
            <a:chExt cx="841038" cy="672411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371561" y="2650465"/>
              <a:ext cx="707245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3200" b="1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18</a:t>
              </a:r>
              <a:endParaRPr lang="ru-RU" sz="3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302761" y="3068960"/>
              <a:ext cx="841038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050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лрд. </a:t>
              </a:r>
              <a:r>
                <a:rPr lang="ru-RU" sz="1050" dirty="0" err="1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тг</a:t>
              </a:r>
              <a:r>
                <a:rPr lang="ru-RU" sz="1050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.</a:t>
              </a:r>
              <a:endParaRPr lang="ru-RU" sz="105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40" name="Группа 39"/>
          <p:cNvGrpSpPr/>
          <p:nvPr/>
        </p:nvGrpSpPr>
        <p:grpSpPr>
          <a:xfrm>
            <a:off x="3682562" y="5583573"/>
            <a:ext cx="968535" cy="672411"/>
            <a:chOff x="240916" y="2650465"/>
            <a:chExt cx="968535" cy="672411"/>
          </a:xfrm>
        </p:grpSpPr>
        <p:sp>
          <p:nvSpPr>
            <p:cNvPr id="42" name="Прямоугольник 41"/>
            <p:cNvSpPr/>
            <p:nvPr/>
          </p:nvSpPr>
          <p:spPr>
            <a:xfrm>
              <a:off x="240916" y="2650465"/>
              <a:ext cx="968535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3200" b="1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220</a:t>
              </a:r>
              <a:endParaRPr lang="ru-RU" sz="3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302761" y="3068960"/>
              <a:ext cx="841038" cy="2539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050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млрд. </a:t>
              </a:r>
              <a:r>
                <a:rPr lang="ru-RU" sz="1050" dirty="0" err="1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тг</a:t>
              </a:r>
              <a:r>
                <a:rPr lang="ru-RU" sz="1050" dirty="0" smtClean="0">
                  <a:solidFill>
                    <a:schemeClr val="bg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.</a:t>
              </a:r>
              <a:endParaRPr lang="ru-RU" sz="105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51" name="Шеврон 50"/>
          <p:cNvSpPr/>
          <p:nvPr/>
        </p:nvSpPr>
        <p:spPr>
          <a:xfrm>
            <a:off x="3082080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РЕЕСТРЛЕР (ТПФ/ОИН)</a:t>
            </a:r>
          </a:p>
        </p:txBody>
      </p:sp>
      <p:sp>
        <p:nvSpPr>
          <p:cNvPr id="52" name="Шеврон 51"/>
          <p:cNvSpPr/>
          <p:nvPr/>
        </p:nvSpPr>
        <p:spPr>
          <a:xfrm>
            <a:off x="6090212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. ПКО</a:t>
            </a:r>
          </a:p>
        </p:txBody>
      </p:sp>
      <p:sp>
        <p:nvSpPr>
          <p:cNvPr id="53" name="Шеврон 52"/>
          <p:cNvSpPr/>
          <p:nvPr/>
        </p:nvSpPr>
        <p:spPr>
          <a:xfrm>
            <a:off x="9095936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. ЕНС ТРУ</a:t>
            </a:r>
          </a:p>
        </p:txBody>
      </p:sp>
      <p:sp>
        <p:nvSpPr>
          <p:cNvPr id="57" name="Пятиугольник 56"/>
          <p:cNvSpPr/>
          <p:nvPr/>
        </p:nvSpPr>
        <p:spPr>
          <a:xfrm>
            <a:off x="76356" y="47575"/>
            <a:ext cx="3024000" cy="180000"/>
          </a:xfrm>
          <a:prstGeom prst="homePlate">
            <a:avLst/>
          </a:prstGeom>
          <a:solidFill>
            <a:srgbClr val="17335D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kk-KZ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</a:t>
            </a:r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ФТЕЙК-КЕЛІСІМШАРТТАР</a:t>
            </a:r>
            <a:endParaRPr lang="ru-RU" sz="10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2789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033885" y="346308"/>
            <a:ext cx="10678739" cy="4078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kk-KZ" sz="205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РДЫҢ ТАУАР ӨНДІРУШІЛЕР </a:t>
            </a:r>
            <a:r>
              <a:rPr lang="kk-KZ" sz="2050" b="1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ІЗІЛІМІНЕ</a:t>
            </a:r>
            <a:r>
              <a:rPr lang="en-US" sz="2050" b="1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</a:t>
            </a:r>
            <a:r>
              <a:rPr lang="kk-KZ" sz="2050" b="1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ПФ РЕЕСТРІ</a:t>
            </a:r>
            <a:r>
              <a:rPr lang="en-US" sz="2050" b="1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r>
              <a:rPr lang="kk-KZ" sz="2050" b="1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kk-KZ" sz="205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ГІЗУ ТӘРТІБІ</a:t>
            </a:r>
          </a:p>
        </p:txBody>
      </p:sp>
      <p:cxnSp>
        <p:nvCxnSpPr>
          <p:cNvPr id="161" name="Straight Connector 22">
            <a:extLst>
              <a:ext uri="{FF2B5EF4-FFF2-40B4-BE49-F238E27FC236}">
                <a16:creationId xmlns:a16="http://schemas.microsoft.com/office/drawing/2014/main" xmlns="" id="{7982AF7D-7FF0-494C-891D-C601C69FAD64}"/>
              </a:ext>
            </a:extLst>
          </p:cNvPr>
          <p:cNvCxnSpPr>
            <a:cxnSpLocks/>
            <a:stCxn id="237" idx="6"/>
            <a:endCxn id="224" idx="2"/>
          </p:cNvCxnSpPr>
          <p:nvPr/>
        </p:nvCxnSpPr>
        <p:spPr>
          <a:xfrm flipV="1">
            <a:off x="2508961" y="1893971"/>
            <a:ext cx="274702" cy="625"/>
          </a:xfrm>
          <a:prstGeom prst="line">
            <a:avLst/>
          </a:prstGeom>
          <a:ln w="19050">
            <a:solidFill>
              <a:schemeClr val="accent2">
                <a:lumMod val="2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53">
            <a:extLst>
              <a:ext uri="{FF2B5EF4-FFF2-40B4-BE49-F238E27FC236}">
                <a16:creationId xmlns:a16="http://schemas.microsoft.com/office/drawing/2014/main" xmlns="" id="{67E87360-F24A-47BA-928F-2F0179FA8620}"/>
              </a:ext>
            </a:extLst>
          </p:cNvPr>
          <p:cNvCxnSpPr>
            <a:stCxn id="187" idx="6"/>
            <a:endCxn id="211" idx="2"/>
          </p:cNvCxnSpPr>
          <p:nvPr/>
        </p:nvCxnSpPr>
        <p:spPr>
          <a:xfrm>
            <a:off x="8350694" y="3693542"/>
            <a:ext cx="2401973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Oval 19">
            <a:extLst>
              <a:ext uri="{FF2B5EF4-FFF2-40B4-BE49-F238E27FC236}">
                <a16:creationId xmlns:a16="http://schemas.microsoft.com/office/drawing/2014/main" xmlns="" id="{037A3CB3-AA60-41C6-B92B-B84EC0A87E61}"/>
              </a:ext>
            </a:extLst>
          </p:cNvPr>
          <p:cNvSpPr/>
          <p:nvPr/>
        </p:nvSpPr>
        <p:spPr>
          <a:xfrm>
            <a:off x="2070570" y="3598292"/>
            <a:ext cx="190500" cy="190500"/>
          </a:xfrm>
          <a:prstGeom prst="ellipse">
            <a:avLst/>
          </a:prstGeom>
          <a:solidFill>
            <a:schemeClr val="accent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6" name="Circle: Hollow 20">
            <a:extLst>
              <a:ext uri="{FF2B5EF4-FFF2-40B4-BE49-F238E27FC236}">
                <a16:creationId xmlns:a16="http://schemas.microsoft.com/office/drawing/2014/main" xmlns="" id="{5AB77009-91CD-4089-A339-205E1FD860BA}"/>
              </a:ext>
            </a:extLst>
          </p:cNvPr>
          <p:cNvSpPr/>
          <p:nvPr/>
        </p:nvSpPr>
        <p:spPr>
          <a:xfrm>
            <a:off x="1951507" y="3479229"/>
            <a:ext cx="428626" cy="428626"/>
          </a:xfrm>
          <a:prstGeom prst="donut">
            <a:avLst>
              <a:gd name="adj" fmla="val 5281"/>
            </a:avLst>
          </a:prstGeom>
          <a:solidFill>
            <a:schemeClr val="accent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5" name="Oval 45">
            <a:extLst>
              <a:ext uri="{FF2B5EF4-FFF2-40B4-BE49-F238E27FC236}">
                <a16:creationId xmlns:a16="http://schemas.microsoft.com/office/drawing/2014/main" xmlns="" id="{86694F26-80D5-467D-94C4-C9C860517F5F}"/>
              </a:ext>
            </a:extLst>
          </p:cNvPr>
          <p:cNvSpPr/>
          <p:nvPr/>
        </p:nvSpPr>
        <p:spPr>
          <a:xfrm>
            <a:off x="7908259" y="3598292"/>
            <a:ext cx="190500" cy="190500"/>
          </a:xfrm>
          <a:prstGeom prst="ellipse">
            <a:avLst/>
          </a:prstGeom>
          <a:solidFill>
            <a:srgbClr val="1C7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6" name="Circle: Hollow 46">
            <a:extLst>
              <a:ext uri="{FF2B5EF4-FFF2-40B4-BE49-F238E27FC236}">
                <a16:creationId xmlns:a16="http://schemas.microsoft.com/office/drawing/2014/main" xmlns="" id="{B0789B4A-0620-4211-9109-6DBE9A07FE51}"/>
              </a:ext>
            </a:extLst>
          </p:cNvPr>
          <p:cNvSpPr/>
          <p:nvPr/>
        </p:nvSpPr>
        <p:spPr>
          <a:xfrm>
            <a:off x="7789196" y="3479229"/>
            <a:ext cx="428626" cy="428626"/>
          </a:xfrm>
          <a:prstGeom prst="donut">
            <a:avLst>
              <a:gd name="adj" fmla="val 5281"/>
            </a:avLst>
          </a:prstGeom>
          <a:solidFill>
            <a:srgbClr val="1C7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7" name="Circle: Hollow 47">
            <a:extLst>
              <a:ext uri="{FF2B5EF4-FFF2-40B4-BE49-F238E27FC236}">
                <a16:creationId xmlns:a16="http://schemas.microsoft.com/office/drawing/2014/main" xmlns="" id="{9C63B36C-028C-4461-9179-02E81EA9B830}"/>
              </a:ext>
            </a:extLst>
          </p:cNvPr>
          <p:cNvSpPr/>
          <p:nvPr/>
        </p:nvSpPr>
        <p:spPr>
          <a:xfrm>
            <a:off x="7656324" y="3346357"/>
            <a:ext cx="694370" cy="694370"/>
          </a:xfrm>
          <a:prstGeom prst="donut">
            <a:avLst>
              <a:gd name="adj" fmla="val 287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88" name="Straight Connector 48">
            <a:extLst>
              <a:ext uri="{FF2B5EF4-FFF2-40B4-BE49-F238E27FC236}">
                <a16:creationId xmlns:a16="http://schemas.microsoft.com/office/drawing/2014/main" xmlns="" id="{15E6C7CE-0DCB-4A82-B08E-519AC3270B85}"/>
              </a:ext>
            </a:extLst>
          </p:cNvPr>
          <p:cNvCxnSpPr>
            <a:cxnSpLocks/>
            <a:stCxn id="187" idx="0"/>
            <a:endCxn id="189" idx="4"/>
          </p:cNvCxnSpPr>
          <p:nvPr/>
        </p:nvCxnSpPr>
        <p:spPr>
          <a:xfrm flipV="1">
            <a:off x="8003509" y="2597360"/>
            <a:ext cx="0" cy="748997"/>
          </a:xfrm>
          <a:prstGeom prst="line">
            <a:avLst/>
          </a:prstGeom>
          <a:ln w="19050">
            <a:solidFill>
              <a:srgbClr val="1C7C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Oval 49">
            <a:extLst>
              <a:ext uri="{FF2B5EF4-FFF2-40B4-BE49-F238E27FC236}">
                <a16:creationId xmlns:a16="http://schemas.microsoft.com/office/drawing/2014/main" xmlns="" id="{4CFE38F3-7830-46D8-95EE-69DB62ED465D}"/>
              </a:ext>
            </a:extLst>
          </p:cNvPr>
          <p:cNvSpPr/>
          <p:nvPr/>
        </p:nvSpPr>
        <p:spPr>
          <a:xfrm>
            <a:off x="7941389" y="2473120"/>
            <a:ext cx="124240" cy="124240"/>
          </a:xfrm>
          <a:prstGeom prst="ellipse">
            <a:avLst/>
          </a:prstGeom>
          <a:solidFill>
            <a:srgbClr val="1C7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xmlns="" id="{65F62DC2-C651-4B22-B4CB-1846861868F6}"/>
              </a:ext>
            </a:extLst>
          </p:cNvPr>
          <p:cNvSpPr txBox="1"/>
          <p:nvPr/>
        </p:nvSpPr>
        <p:spPr>
          <a:xfrm>
            <a:off x="7646173" y="4116222"/>
            <a:ext cx="20169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1C7CB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ІНІМДІ ҚАРАУ ЖӘНЕ ШЕШІМ ҚАБЫЛДАУ</a:t>
            </a:r>
          </a:p>
        </p:txBody>
      </p:sp>
      <p:sp>
        <p:nvSpPr>
          <p:cNvPr id="209" name="Oval 45">
            <a:extLst>
              <a:ext uri="{FF2B5EF4-FFF2-40B4-BE49-F238E27FC236}">
                <a16:creationId xmlns:a16="http://schemas.microsoft.com/office/drawing/2014/main" xmlns="" id="{86694F26-80D5-467D-94C4-C9C860517F5F}"/>
              </a:ext>
            </a:extLst>
          </p:cNvPr>
          <p:cNvSpPr/>
          <p:nvPr/>
        </p:nvSpPr>
        <p:spPr>
          <a:xfrm>
            <a:off x="11004602" y="3598292"/>
            <a:ext cx="190500" cy="190500"/>
          </a:xfrm>
          <a:prstGeom prst="ellipse">
            <a:avLst/>
          </a:prstGeom>
          <a:solidFill>
            <a:srgbClr val="00C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0" name="Circle: Hollow 46">
            <a:extLst>
              <a:ext uri="{FF2B5EF4-FFF2-40B4-BE49-F238E27FC236}">
                <a16:creationId xmlns:a16="http://schemas.microsoft.com/office/drawing/2014/main" xmlns="" id="{B0789B4A-0620-4211-9109-6DBE9A07FE51}"/>
              </a:ext>
            </a:extLst>
          </p:cNvPr>
          <p:cNvSpPr/>
          <p:nvPr/>
        </p:nvSpPr>
        <p:spPr>
          <a:xfrm>
            <a:off x="10885539" y="3479229"/>
            <a:ext cx="428626" cy="428626"/>
          </a:xfrm>
          <a:prstGeom prst="donut">
            <a:avLst>
              <a:gd name="adj" fmla="val 5281"/>
            </a:avLst>
          </a:prstGeom>
          <a:solidFill>
            <a:srgbClr val="00C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1" name="Circle: Hollow 47">
            <a:extLst>
              <a:ext uri="{FF2B5EF4-FFF2-40B4-BE49-F238E27FC236}">
                <a16:creationId xmlns:a16="http://schemas.microsoft.com/office/drawing/2014/main" xmlns="" id="{9C63B36C-028C-4461-9179-02E81EA9B830}"/>
              </a:ext>
            </a:extLst>
          </p:cNvPr>
          <p:cNvSpPr/>
          <p:nvPr/>
        </p:nvSpPr>
        <p:spPr>
          <a:xfrm>
            <a:off x="10752667" y="3346357"/>
            <a:ext cx="694370" cy="694370"/>
          </a:xfrm>
          <a:prstGeom prst="donut">
            <a:avLst>
              <a:gd name="adj" fmla="val 287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12" name="Straight Connector 48">
            <a:extLst>
              <a:ext uri="{FF2B5EF4-FFF2-40B4-BE49-F238E27FC236}">
                <a16:creationId xmlns:a16="http://schemas.microsoft.com/office/drawing/2014/main" xmlns="" id="{15E6C7CE-0DCB-4A82-B08E-519AC3270B85}"/>
              </a:ext>
            </a:extLst>
          </p:cNvPr>
          <p:cNvCxnSpPr>
            <a:cxnSpLocks/>
            <a:stCxn id="211" idx="4"/>
            <a:endCxn id="213" idx="4"/>
          </p:cNvCxnSpPr>
          <p:nvPr/>
        </p:nvCxnSpPr>
        <p:spPr>
          <a:xfrm>
            <a:off x="11099852" y="4040727"/>
            <a:ext cx="0" cy="828433"/>
          </a:xfrm>
          <a:prstGeom prst="line">
            <a:avLst/>
          </a:prstGeom>
          <a:ln w="19050"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Oval 49">
            <a:extLst>
              <a:ext uri="{FF2B5EF4-FFF2-40B4-BE49-F238E27FC236}">
                <a16:creationId xmlns:a16="http://schemas.microsoft.com/office/drawing/2014/main" xmlns="" id="{4CFE38F3-7830-46D8-95EE-69DB62ED465D}"/>
              </a:ext>
            </a:extLst>
          </p:cNvPr>
          <p:cNvSpPr/>
          <p:nvPr/>
        </p:nvSpPr>
        <p:spPr>
          <a:xfrm>
            <a:off x="11037732" y="4744920"/>
            <a:ext cx="124240" cy="124240"/>
          </a:xfrm>
          <a:prstGeom prst="ellipse">
            <a:avLst/>
          </a:prstGeom>
          <a:solidFill>
            <a:srgbClr val="00C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xmlns="" id="{65F62DC2-C651-4B22-B4CB-1846861868F6}"/>
              </a:ext>
            </a:extLst>
          </p:cNvPr>
          <p:cNvSpPr txBox="1"/>
          <p:nvPr/>
        </p:nvSpPr>
        <p:spPr>
          <a:xfrm>
            <a:off x="10127041" y="2646428"/>
            <a:ext cx="19456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CC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ПФ РЕЕСТРІНЕ </a:t>
            </a:r>
            <a:r>
              <a:rPr lang="ru-RU" sz="1600" b="1" dirty="0">
                <a:solidFill>
                  <a:srgbClr val="00CC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ГІЗУ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xmlns="" id="{44337E62-7F21-4CD3-9B0D-507A64DF7728}"/>
              </a:ext>
            </a:extLst>
          </p:cNvPr>
          <p:cNvSpPr txBox="1"/>
          <p:nvPr/>
        </p:nvSpPr>
        <p:spPr>
          <a:xfrm>
            <a:off x="10170218" y="4989339"/>
            <a:ext cx="185926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00CC66"/>
              </a:buClr>
              <a:buFont typeface="Wingdings" panose="05000000000000000000" pitchFamily="2" charset="2"/>
              <a:buChar char="§"/>
            </a:pPr>
            <a:r>
              <a:rPr lang="ru-RU" sz="14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тификаттың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лданылу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рзіміне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әйкес</a:t>
            </a:r>
            <a:endParaRPr lang="ru-RU" sz="1400" dirty="0">
              <a:solidFill>
                <a:schemeClr val="bg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7" name="Circle: Hollow 20">
            <a:extLst>
              <a:ext uri="{FF2B5EF4-FFF2-40B4-BE49-F238E27FC236}">
                <a16:creationId xmlns:a16="http://schemas.microsoft.com/office/drawing/2014/main" xmlns="" id="{5AB77009-91CD-4089-A339-205E1FD860BA}"/>
              </a:ext>
            </a:extLst>
          </p:cNvPr>
          <p:cNvSpPr/>
          <p:nvPr/>
        </p:nvSpPr>
        <p:spPr>
          <a:xfrm>
            <a:off x="1951507" y="1680382"/>
            <a:ext cx="428626" cy="428626"/>
          </a:xfrm>
          <a:prstGeom prst="donut">
            <a:avLst>
              <a:gd name="adj" fmla="val 5281"/>
            </a:avLst>
          </a:prstGeom>
          <a:solidFill>
            <a:schemeClr val="accent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9" name="Circle: Hollow 20">
            <a:extLst>
              <a:ext uri="{FF2B5EF4-FFF2-40B4-BE49-F238E27FC236}">
                <a16:creationId xmlns:a16="http://schemas.microsoft.com/office/drawing/2014/main" xmlns="" id="{5AB77009-91CD-4089-A339-205E1FD860BA}"/>
              </a:ext>
            </a:extLst>
          </p:cNvPr>
          <p:cNvSpPr/>
          <p:nvPr/>
        </p:nvSpPr>
        <p:spPr>
          <a:xfrm>
            <a:off x="1951507" y="5453843"/>
            <a:ext cx="428626" cy="428626"/>
          </a:xfrm>
          <a:prstGeom prst="donut">
            <a:avLst>
              <a:gd name="adj" fmla="val 5281"/>
            </a:avLst>
          </a:prstGeom>
          <a:solidFill>
            <a:schemeClr val="accent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0" name="Oval 19">
            <a:extLst>
              <a:ext uri="{FF2B5EF4-FFF2-40B4-BE49-F238E27FC236}">
                <a16:creationId xmlns:a16="http://schemas.microsoft.com/office/drawing/2014/main" xmlns="" id="{037A3CB3-AA60-41C6-B92B-B84EC0A87E61}"/>
              </a:ext>
            </a:extLst>
          </p:cNvPr>
          <p:cNvSpPr/>
          <p:nvPr/>
        </p:nvSpPr>
        <p:spPr>
          <a:xfrm>
            <a:off x="2070570" y="5572182"/>
            <a:ext cx="190500" cy="190500"/>
          </a:xfrm>
          <a:prstGeom prst="ellipse">
            <a:avLst/>
          </a:prstGeom>
          <a:solidFill>
            <a:schemeClr val="accent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xmlns="" id="{D297ECE7-7E0E-48D0-9C27-6FB0E3DB79DD}"/>
              </a:ext>
            </a:extLst>
          </p:cNvPr>
          <p:cNvSpPr txBox="1"/>
          <p:nvPr/>
        </p:nvSpPr>
        <p:spPr>
          <a:xfrm>
            <a:off x="170226" y="1355362"/>
            <a:ext cx="143409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accent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ЕСТРГЕ ЕНГІЗУГЕ ӨТІНІМ БЕРУ </a:t>
            </a: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xmlns="" id="{E623F98E-5FFF-4701-A99F-87B202C66033}"/>
              </a:ext>
            </a:extLst>
          </p:cNvPr>
          <p:cNvSpPr txBox="1"/>
          <p:nvPr/>
        </p:nvSpPr>
        <p:spPr>
          <a:xfrm>
            <a:off x="2920251" y="1016808"/>
            <a:ext cx="259968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Clr>
                <a:schemeClr val="accent2">
                  <a:lumMod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млекеттік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іркеу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уралы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нықтама</a:t>
            </a:r>
            <a:endParaRPr lang="ru-RU" sz="1400" dirty="0">
              <a:solidFill>
                <a:schemeClr val="bg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chemeClr val="accent2">
                  <a:lumMod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С ТРУ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дтары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ен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уарлар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уралы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әліметтер</a:t>
            </a:r>
            <a:endParaRPr lang="ru-RU" sz="1400" dirty="0">
              <a:solidFill>
                <a:schemeClr val="bg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chemeClr val="accent2">
                  <a:lumMod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тификаттар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СТ </a:t>
            </a:r>
            <a:r>
              <a:rPr lang="en-US" sz="1200" i="1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Z </a:t>
            </a:r>
            <a:r>
              <a:rPr lang="ru-RU" sz="1200" i="1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месе</a:t>
            </a:r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дустриялық</a:t>
            </a:r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</p:txBody>
      </p:sp>
      <p:sp>
        <p:nvSpPr>
          <p:cNvPr id="224" name="Oval 23">
            <a:extLst>
              <a:ext uri="{FF2B5EF4-FFF2-40B4-BE49-F238E27FC236}">
                <a16:creationId xmlns:a16="http://schemas.microsoft.com/office/drawing/2014/main" xmlns="" id="{D26033AC-E99E-4309-BD9B-47A98BA0DEA7}"/>
              </a:ext>
            </a:extLst>
          </p:cNvPr>
          <p:cNvSpPr/>
          <p:nvPr/>
        </p:nvSpPr>
        <p:spPr>
          <a:xfrm>
            <a:off x="2783663" y="1831851"/>
            <a:ext cx="124240" cy="124240"/>
          </a:xfrm>
          <a:prstGeom prst="ellipse">
            <a:avLst/>
          </a:prstGeom>
          <a:solidFill>
            <a:schemeClr val="accent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5" name="Oval 19">
            <a:extLst>
              <a:ext uri="{FF2B5EF4-FFF2-40B4-BE49-F238E27FC236}">
                <a16:creationId xmlns:a16="http://schemas.microsoft.com/office/drawing/2014/main" xmlns="" id="{037A3CB3-AA60-41C6-B92B-B84EC0A87E61}"/>
              </a:ext>
            </a:extLst>
          </p:cNvPr>
          <p:cNvSpPr/>
          <p:nvPr/>
        </p:nvSpPr>
        <p:spPr>
          <a:xfrm>
            <a:off x="2070570" y="1798721"/>
            <a:ext cx="190500" cy="190500"/>
          </a:xfrm>
          <a:prstGeom prst="ellipse">
            <a:avLst/>
          </a:prstGeom>
          <a:solidFill>
            <a:schemeClr val="accent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xmlns="" id="{E623F98E-5FFF-4701-A99F-87B202C66033}"/>
              </a:ext>
            </a:extLst>
          </p:cNvPr>
          <p:cNvSpPr txBox="1"/>
          <p:nvPr/>
        </p:nvSpPr>
        <p:spPr>
          <a:xfrm>
            <a:off x="6947343" y="2032230"/>
            <a:ext cx="21015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 algn="ctr">
              <a:buClr>
                <a:srgbClr val="1C7CBB"/>
              </a:buClr>
              <a:buFont typeface="Wingdings" panose="05000000000000000000" pitchFamily="2" charset="2"/>
              <a:buChar char="§"/>
            </a:pPr>
            <a:r>
              <a:rPr lang="kk-KZ" sz="14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 жұмыс күні ішінде</a:t>
            </a:r>
            <a:endParaRPr lang="ru-RU" sz="1400" dirty="0">
              <a:solidFill>
                <a:schemeClr val="bg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1" name="Circle: Hollow 30">
            <a:extLst>
              <a:ext uri="{FF2B5EF4-FFF2-40B4-BE49-F238E27FC236}">
                <a16:creationId xmlns:a16="http://schemas.microsoft.com/office/drawing/2014/main" xmlns="" id="{FB3E2DCF-4068-4715-BD27-13370B541EAC}"/>
              </a:ext>
            </a:extLst>
          </p:cNvPr>
          <p:cNvSpPr/>
          <p:nvPr/>
        </p:nvSpPr>
        <p:spPr>
          <a:xfrm>
            <a:off x="1814591" y="3346357"/>
            <a:ext cx="694370" cy="694370"/>
          </a:xfrm>
          <a:prstGeom prst="donut">
            <a:avLst>
              <a:gd name="adj" fmla="val 287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7" name="Circle: Hollow 30">
            <a:extLst>
              <a:ext uri="{FF2B5EF4-FFF2-40B4-BE49-F238E27FC236}">
                <a16:creationId xmlns:a16="http://schemas.microsoft.com/office/drawing/2014/main" xmlns="" id="{FB3E2DCF-4068-4715-BD27-13370B541EAC}"/>
              </a:ext>
            </a:extLst>
          </p:cNvPr>
          <p:cNvSpPr/>
          <p:nvPr/>
        </p:nvSpPr>
        <p:spPr>
          <a:xfrm>
            <a:off x="1814591" y="1547411"/>
            <a:ext cx="694370" cy="694370"/>
          </a:xfrm>
          <a:prstGeom prst="donut">
            <a:avLst>
              <a:gd name="adj" fmla="val 287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8" name="Circle: Hollow 30">
            <a:extLst>
              <a:ext uri="{FF2B5EF4-FFF2-40B4-BE49-F238E27FC236}">
                <a16:creationId xmlns:a16="http://schemas.microsoft.com/office/drawing/2014/main" xmlns="" id="{FB3E2DCF-4068-4715-BD27-13370B541EAC}"/>
              </a:ext>
            </a:extLst>
          </p:cNvPr>
          <p:cNvSpPr/>
          <p:nvPr/>
        </p:nvSpPr>
        <p:spPr>
          <a:xfrm>
            <a:off x="1814591" y="5318698"/>
            <a:ext cx="694370" cy="694370"/>
          </a:xfrm>
          <a:prstGeom prst="donut">
            <a:avLst>
              <a:gd name="adj" fmla="val 287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xmlns="" id="{D297ECE7-7E0E-48D0-9C27-6FB0E3DB79DD}"/>
              </a:ext>
            </a:extLst>
          </p:cNvPr>
          <p:cNvSpPr txBox="1"/>
          <p:nvPr/>
        </p:nvSpPr>
        <p:spPr>
          <a:xfrm>
            <a:off x="-56851" y="3398313"/>
            <a:ext cx="187144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accent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ОЛЫҚТЫРУҒА ӨТІНІМ БЕРУ</a:t>
            </a:r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xmlns="" id="{D297ECE7-7E0E-48D0-9C27-6FB0E3DB79DD}"/>
              </a:ext>
            </a:extLst>
          </p:cNvPr>
          <p:cNvSpPr txBox="1"/>
          <p:nvPr/>
        </p:nvSpPr>
        <p:spPr>
          <a:xfrm>
            <a:off x="170226" y="5250383"/>
            <a:ext cx="15253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accent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ҰЗАРТУҒА ӨТІНІМ БЕРУ</a:t>
            </a:r>
          </a:p>
        </p:txBody>
      </p:sp>
      <p:cxnSp>
        <p:nvCxnSpPr>
          <p:cNvPr id="241" name="Straight Connector 22">
            <a:extLst>
              <a:ext uri="{FF2B5EF4-FFF2-40B4-BE49-F238E27FC236}">
                <a16:creationId xmlns:a16="http://schemas.microsoft.com/office/drawing/2014/main" xmlns="" id="{7982AF7D-7FF0-494C-891D-C601C69FAD64}"/>
              </a:ext>
            </a:extLst>
          </p:cNvPr>
          <p:cNvCxnSpPr>
            <a:cxnSpLocks/>
            <a:endCxn id="243" idx="2"/>
          </p:cNvCxnSpPr>
          <p:nvPr/>
        </p:nvCxnSpPr>
        <p:spPr>
          <a:xfrm flipV="1">
            <a:off x="2508961" y="3690701"/>
            <a:ext cx="274702" cy="625"/>
          </a:xfrm>
          <a:prstGeom prst="line">
            <a:avLst/>
          </a:prstGeom>
          <a:ln w="19050">
            <a:solidFill>
              <a:schemeClr val="accent2">
                <a:lumMod val="2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2" name="TextBox 241">
            <a:extLst>
              <a:ext uri="{FF2B5EF4-FFF2-40B4-BE49-F238E27FC236}">
                <a16:creationId xmlns:a16="http://schemas.microsoft.com/office/drawing/2014/main" xmlns="" id="{E623F98E-5FFF-4701-A99F-87B202C66033}"/>
              </a:ext>
            </a:extLst>
          </p:cNvPr>
          <p:cNvSpPr txBox="1"/>
          <p:nvPr/>
        </p:nvSpPr>
        <p:spPr>
          <a:xfrm>
            <a:off x="2920251" y="3087326"/>
            <a:ext cx="2599685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Clr>
                <a:schemeClr val="accent2">
                  <a:lumMod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С ТРУ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дтары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ен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уарлар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уралы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әліметтер</a:t>
            </a:r>
            <a:endParaRPr lang="ru-RU" sz="1400" dirty="0">
              <a:solidFill>
                <a:schemeClr val="bg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chemeClr val="accent2">
                  <a:lumMod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тификаттар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СТ KZ </a:t>
            </a:r>
            <a:r>
              <a:rPr lang="ru-RU" sz="1200" i="1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месе</a:t>
            </a:r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дустриялық</a:t>
            </a:r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</p:txBody>
      </p:sp>
      <p:sp>
        <p:nvSpPr>
          <p:cNvPr id="243" name="Oval 23">
            <a:extLst>
              <a:ext uri="{FF2B5EF4-FFF2-40B4-BE49-F238E27FC236}">
                <a16:creationId xmlns:a16="http://schemas.microsoft.com/office/drawing/2014/main" xmlns="" id="{D26033AC-E99E-4309-BD9B-47A98BA0DEA7}"/>
              </a:ext>
            </a:extLst>
          </p:cNvPr>
          <p:cNvSpPr/>
          <p:nvPr/>
        </p:nvSpPr>
        <p:spPr>
          <a:xfrm>
            <a:off x="2783663" y="3628581"/>
            <a:ext cx="124240" cy="124240"/>
          </a:xfrm>
          <a:prstGeom prst="ellipse">
            <a:avLst/>
          </a:prstGeom>
          <a:solidFill>
            <a:schemeClr val="accent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45" name="Straight Connector 22">
            <a:extLst>
              <a:ext uri="{FF2B5EF4-FFF2-40B4-BE49-F238E27FC236}">
                <a16:creationId xmlns:a16="http://schemas.microsoft.com/office/drawing/2014/main" xmlns="" id="{7982AF7D-7FF0-494C-891D-C601C69FAD64}"/>
              </a:ext>
            </a:extLst>
          </p:cNvPr>
          <p:cNvCxnSpPr>
            <a:cxnSpLocks/>
            <a:endCxn id="247" idx="2"/>
          </p:cNvCxnSpPr>
          <p:nvPr/>
        </p:nvCxnSpPr>
        <p:spPr>
          <a:xfrm flipV="1">
            <a:off x="2508961" y="5665883"/>
            <a:ext cx="274702" cy="625"/>
          </a:xfrm>
          <a:prstGeom prst="line">
            <a:avLst/>
          </a:prstGeom>
          <a:ln w="19050">
            <a:solidFill>
              <a:schemeClr val="accent2">
                <a:lumMod val="2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6" name="TextBox 245">
            <a:extLst>
              <a:ext uri="{FF2B5EF4-FFF2-40B4-BE49-F238E27FC236}">
                <a16:creationId xmlns:a16="http://schemas.microsoft.com/office/drawing/2014/main" xmlns="" id="{E623F98E-5FFF-4701-A99F-87B202C66033}"/>
              </a:ext>
            </a:extLst>
          </p:cNvPr>
          <p:cNvSpPr txBox="1"/>
          <p:nvPr/>
        </p:nvSpPr>
        <p:spPr>
          <a:xfrm>
            <a:off x="2920251" y="4819497"/>
            <a:ext cx="2599685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Clr>
                <a:schemeClr val="accent2">
                  <a:lumMod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С ТРУ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дтары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ен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уарлар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уралы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әліметтер</a:t>
            </a:r>
            <a:endParaRPr lang="ru-RU" sz="1400" dirty="0">
              <a:solidFill>
                <a:schemeClr val="bg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spcAft>
                <a:spcPts val="600"/>
              </a:spcAft>
              <a:buClr>
                <a:schemeClr val="accent2">
                  <a:lumMod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тификаттар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СТ </a:t>
            </a:r>
            <a:r>
              <a:rPr lang="en-US" sz="1200" i="1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Z </a:t>
            </a:r>
            <a:r>
              <a:rPr lang="ru-RU" sz="1200" i="1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месе</a:t>
            </a:r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дустриялық</a:t>
            </a:r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ru-RU" sz="1400" i="1" dirty="0">
              <a:solidFill>
                <a:schemeClr val="bg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spcAft>
                <a:spcPts val="600"/>
              </a:spcAft>
              <a:buClr>
                <a:schemeClr val="accent2">
                  <a:lumMod val="25000"/>
                </a:schemeClr>
              </a:buClr>
            </a:pPr>
            <a:r>
              <a:rPr lang="ru-RU" sz="1200" i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1200" i="1" dirty="0" err="1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ізілімде</a:t>
            </a:r>
            <a:r>
              <a:rPr lang="ru-RU" sz="1200" i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болу </a:t>
            </a:r>
            <a:r>
              <a:rPr lang="ru-RU" sz="1200" i="1" dirty="0" err="1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рзімі</a:t>
            </a:r>
            <a:r>
              <a:rPr lang="ru-RU" sz="1200" i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 err="1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кенге</a:t>
            </a:r>
            <a:r>
              <a:rPr lang="ru-RU" sz="1200" i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 err="1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йін</a:t>
            </a:r>
            <a:r>
              <a:rPr lang="ru-RU" sz="1200" i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10 </a:t>
            </a:r>
            <a:r>
              <a:rPr lang="ru-RU" sz="1200" i="1" dirty="0" err="1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ұмыс</a:t>
            </a:r>
            <a:r>
              <a:rPr lang="ru-RU" sz="1200" i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 err="1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үні</a:t>
            </a:r>
            <a:r>
              <a:rPr lang="ru-RU" sz="1200" i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 err="1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ұрын</a:t>
            </a:r>
            <a:r>
              <a:rPr lang="ru-RU" sz="1200" i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</p:txBody>
      </p:sp>
      <p:sp>
        <p:nvSpPr>
          <p:cNvPr id="247" name="Oval 23">
            <a:extLst>
              <a:ext uri="{FF2B5EF4-FFF2-40B4-BE49-F238E27FC236}">
                <a16:creationId xmlns:a16="http://schemas.microsoft.com/office/drawing/2014/main" xmlns="" id="{D26033AC-E99E-4309-BD9B-47A98BA0DEA7}"/>
              </a:ext>
            </a:extLst>
          </p:cNvPr>
          <p:cNvSpPr/>
          <p:nvPr/>
        </p:nvSpPr>
        <p:spPr>
          <a:xfrm>
            <a:off x="2783663" y="5603763"/>
            <a:ext cx="124240" cy="124240"/>
          </a:xfrm>
          <a:prstGeom prst="ellipse">
            <a:avLst/>
          </a:prstGeom>
          <a:solidFill>
            <a:schemeClr val="accent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48" name="Straight Connector 53">
            <a:extLst>
              <a:ext uri="{FF2B5EF4-FFF2-40B4-BE49-F238E27FC236}">
                <a16:creationId xmlns:a16="http://schemas.microsoft.com/office/drawing/2014/main" xmlns="" id="{67E87360-F24A-47BA-928F-2F0179FA8620}"/>
              </a:ext>
            </a:extLst>
          </p:cNvPr>
          <p:cNvCxnSpPr>
            <a:stCxn id="242" idx="3"/>
            <a:endCxn id="187" idx="2"/>
          </p:cNvCxnSpPr>
          <p:nvPr/>
        </p:nvCxnSpPr>
        <p:spPr>
          <a:xfrm flipV="1">
            <a:off x="5519936" y="3693542"/>
            <a:ext cx="2136388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Connector 53">
            <a:extLst>
              <a:ext uri="{FF2B5EF4-FFF2-40B4-BE49-F238E27FC236}">
                <a16:creationId xmlns:a16="http://schemas.microsoft.com/office/drawing/2014/main" xmlns="" id="{67E87360-F24A-47BA-928F-2F0179FA8620}"/>
              </a:ext>
            </a:extLst>
          </p:cNvPr>
          <p:cNvCxnSpPr>
            <a:stCxn id="223" idx="3"/>
            <a:endCxn id="187" idx="1"/>
          </p:cNvCxnSpPr>
          <p:nvPr/>
        </p:nvCxnSpPr>
        <p:spPr>
          <a:xfrm>
            <a:off x="5519936" y="1893971"/>
            <a:ext cx="2238076" cy="1554074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Connector 53">
            <a:extLst>
              <a:ext uri="{FF2B5EF4-FFF2-40B4-BE49-F238E27FC236}">
                <a16:creationId xmlns:a16="http://schemas.microsoft.com/office/drawing/2014/main" xmlns="" id="{67E87360-F24A-47BA-928F-2F0179FA8620}"/>
              </a:ext>
            </a:extLst>
          </p:cNvPr>
          <p:cNvCxnSpPr>
            <a:stCxn id="246" idx="3"/>
            <a:endCxn id="187" idx="3"/>
          </p:cNvCxnSpPr>
          <p:nvPr/>
        </p:nvCxnSpPr>
        <p:spPr>
          <a:xfrm flipV="1">
            <a:off x="5519936" y="3939039"/>
            <a:ext cx="2238076" cy="1726844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7" name="Прямоугольник 256"/>
          <p:cNvSpPr/>
          <p:nvPr/>
        </p:nvSpPr>
        <p:spPr>
          <a:xfrm>
            <a:off x="6939591" y="6134168"/>
            <a:ext cx="87235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1B689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65</a:t>
            </a:r>
            <a:endParaRPr lang="ru-RU" sz="2800" dirty="0">
              <a:solidFill>
                <a:srgbClr val="1B6893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58" name="Прямоугольник 257"/>
          <p:cNvSpPr/>
          <p:nvPr/>
        </p:nvSpPr>
        <p:spPr>
          <a:xfrm>
            <a:off x="7789196" y="6133554"/>
            <a:ext cx="133681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kk-KZ" sz="1400" b="1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ҰЙЫМДАР САНЫ</a:t>
            </a:r>
            <a:endParaRPr lang="ru-RU" sz="14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9" name="Прямоугольник 258"/>
          <p:cNvSpPr/>
          <p:nvPr/>
        </p:nvSpPr>
        <p:spPr>
          <a:xfrm>
            <a:off x="9048862" y="6134168"/>
            <a:ext cx="143661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800" b="1" dirty="0" smtClean="0">
                <a:solidFill>
                  <a:srgbClr val="1B689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r>
              <a:rPr lang="kk-KZ" sz="2800" b="1" dirty="0" smtClean="0">
                <a:solidFill>
                  <a:srgbClr val="1B689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 964</a:t>
            </a:r>
            <a:endParaRPr lang="ru-RU" sz="2800" dirty="0">
              <a:solidFill>
                <a:srgbClr val="1B6893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61" name="Прямоугольник 260"/>
          <p:cNvSpPr/>
          <p:nvPr/>
        </p:nvSpPr>
        <p:spPr>
          <a:xfrm>
            <a:off x="10488128" y="6133554"/>
            <a:ext cx="145075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kk-KZ" sz="1400" b="1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ОЗИЦИЯЛАР САНЫ</a:t>
            </a:r>
            <a:endParaRPr lang="ru-RU" sz="14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2" name="Прямоугольник 261"/>
          <p:cNvSpPr/>
          <p:nvPr/>
        </p:nvSpPr>
        <p:spPr>
          <a:xfrm>
            <a:off x="6820883" y="6013068"/>
            <a:ext cx="5213405" cy="728300"/>
          </a:xfrm>
          <a:prstGeom prst="rect">
            <a:avLst/>
          </a:prstGeom>
          <a:noFill/>
          <a:ln w="12700">
            <a:solidFill>
              <a:schemeClr val="bg2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63" name="Прямоугольник 262"/>
          <p:cNvSpPr/>
          <p:nvPr/>
        </p:nvSpPr>
        <p:spPr>
          <a:xfrm>
            <a:off x="8973776" y="5806073"/>
            <a:ext cx="907621" cy="307777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2 ж.</a:t>
            </a:r>
            <a:endParaRPr lang="ru-RU" sz="1400" dirty="0">
              <a:solidFill>
                <a:schemeClr val="bg2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64" name="Шеврон 263"/>
          <p:cNvSpPr/>
          <p:nvPr/>
        </p:nvSpPr>
        <p:spPr>
          <a:xfrm>
            <a:off x="3082080" y="43570"/>
            <a:ext cx="3024000" cy="180000"/>
          </a:xfrm>
          <a:prstGeom prst="chevron">
            <a:avLst>
              <a:gd name="adj" fmla="val 46736"/>
            </a:avLst>
          </a:prstGeom>
          <a:solidFill>
            <a:srgbClr val="17335D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РЕЕСТРЛЕР (ТПФ/ОИН)</a:t>
            </a:r>
          </a:p>
        </p:txBody>
      </p:sp>
      <p:sp>
        <p:nvSpPr>
          <p:cNvPr id="265" name="Шеврон 264"/>
          <p:cNvSpPr/>
          <p:nvPr/>
        </p:nvSpPr>
        <p:spPr>
          <a:xfrm>
            <a:off x="6090212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. ПКО</a:t>
            </a:r>
          </a:p>
        </p:txBody>
      </p:sp>
      <p:sp>
        <p:nvSpPr>
          <p:cNvPr id="266" name="Шеврон 265"/>
          <p:cNvSpPr/>
          <p:nvPr/>
        </p:nvSpPr>
        <p:spPr>
          <a:xfrm>
            <a:off x="9095936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. ЕНС ТРУ</a:t>
            </a:r>
          </a:p>
        </p:txBody>
      </p:sp>
      <p:sp>
        <p:nvSpPr>
          <p:cNvPr id="267" name="Пятиугольник 266"/>
          <p:cNvSpPr/>
          <p:nvPr/>
        </p:nvSpPr>
        <p:spPr>
          <a:xfrm>
            <a:off x="76356" y="47575"/>
            <a:ext cx="3024000" cy="18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kk-KZ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</a:t>
            </a:r>
            <a:r>
              <a:rPr lang="ru-RU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ФТЕЙК-КЕЛІСІМШАРТТАР</a:t>
            </a:r>
            <a:endParaRPr lang="ru-RU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12592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000"/>
                            </p:stCondLst>
                            <p:childTnLst>
                              <p:par>
                                <p:cTn id="3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500"/>
                            </p:stCondLst>
                            <p:childTnLst>
                              <p:par>
                                <p:cTn id="5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000"/>
                            </p:stCondLst>
                            <p:childTnLst>
                              <p:par>
                                <p:cTn id="5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2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20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4500"/>
                            </p:stCondLst>
                            <p:childTnLst>
                              <p:par>
                                <p:cTn id="6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2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2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5000"/>
                            </p:stCondLst>
                            <p:childTnLst>
                              <p:par>
                                <p:cTn id="6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2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2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500"/>
                            </p:stCondLst>
                            <p:childTnLst>
                              <p:par>
                                <p:cTn id="7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4" dur="500"/>
                                        <p:tgtEl>
                                          <p:spTgt spid="2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6000"/>
                            </p:stCondLst>
                            <p:childTnLst>
                              <p:par>
                                <p:cTn id="7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2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2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2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2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2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6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2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6500"/>
                            </p:stCondLst>
                            <p:childTnLst>
                              <p:par>
                                <p:cTn id="9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4" dur="500" fill="hold"/>
                                        <p:tgtEl>
                                          <p:spTgt spid="2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2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2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>
                            <p:stCondLst>
                              <p:cond delay="7000"/>
                            </p:stCondLst>
                            <p:childTnLst>
                              <p:par>
                                <p:cTn id="9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2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2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2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7500"/>
                            </p:stCondLst>
                            <p:childTnLst>
                              <p:par>
                                <p:cTn id="10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6" dur="500" fill="hold"/>
                                        <p:tgtEl>
                                          <p:spTgt spid="2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2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2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2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2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2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2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7" dur="500" fill="hold"/>
                                        <p:tgtEl>
                                          <p:spTgt spid="2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500" fill="hold"/>
                                        <p:tgtEl>
                                          <p:spTgt spid="2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9" fill="hold">
                            <p:stCondLst>
                              <p:cond delay="8000"/>
                            </p:stCondLst>
                            <p:childTnLst>
                              <p:par>
                                <p:cTn id="12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2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3" fill="hold">
                            <p:stCondLst>
                              <p:cond delay="8500"/>
                            </p:stCondLst>
                            <p:childTnLst>
                              <p:par>
                                <p:cTn id="12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6" dur="500" fill="hold"/>
                                        <p:tgtEl>
                                          <p:spTgt spid="2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7" dur="500" fill="hold"/>
                                        <p:tgtEl>
                                          <p:spTgt spid="2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2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9000"/>
                            </p:stCondLst>
                            <p:childTnLst>
                              <p:par>
                                <p:cTn id="13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2" dur="500" fill="hold"/>
                                        <p:tgtEl>
                                          <p:spTgt spid="2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3" dur="500" fill="hold"/>
                                        <p:tgtEl>
                                          <p:spTgt spid="2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2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2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8" dur="500" fill="hold"/>
                                        <p:tgtEl>
                                          <p:spTgt spid="2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500" fill="hold"/>
                                        <p:tgtEl>
                                          <p:spTgt spid="2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0" fill="hold">
                            <p:stCondLst>
                              <p:cond delay="9500"/>
                            </p:stCondLst>
                            <p:childTnLst>
                              <p:par>
                                <p:cTn id="14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3" dur="500" fill="hold"/>
                                        <p:tgtEl>
                                          <p:spTgt spid="2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4" dur="500" fill="hold"/>
                                        <p:tgtEl>
                                          <p:spTgt spid="2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2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6" fill="hold">
                            <p:stCondLst>
                              <p:cond delay="10000"/>
                            </p:stCondLst>
                            <p:childTnLst>
                              <p:par>
                                <p:cTn id="14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9" dur="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0" dur="500" fill="hold"/>
                                        <p:tgtEl>
                                          <p:spTgt spid="2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2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2" fill="hold">
                            <p:stCondLst>
                              <p:cond delay="10500"/>
                            </p:stCondLst>
                            <p:childTnLst>
                              <p:par>
                                <p:cTn id="15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5" dur="500" fill="hold"/>
                                        <p:tgtEl>
                                          <p:spTgt spid="2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6" dur="500" fill="hold"/>
                                        <p:tgtEl>
                                          <p:spTgt spid="2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7" dur="500"/>
                                        <p:tgtEl>
                                          <p:spTgt spid="2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0" dur="500"/>
                                        <p:tgtEl>
                                          <p:spTgt spid="2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1" dur="500" fill="hold"/>
                                        <p:tgtEl>
                                          <p:spTgt spid="2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2" dur="500" fill="hold"/>
                                        <p:tgtEl>
                                          <p:spTgt spid="2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5" dur="500"/>
                                        <p:tgtEl>
                                          <p:spTgt spid="2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6" dur="500" fill="hold"/>
                                        <p:tgtEl>
                                          <p:spTgt spid="2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7" dur="500" fill="hold"/>
                                        <p:tgtEl>
                                          <p:spTgt spid="2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0" dur="500"/>
                                        <p:tgtEl>
                                          <p:spTgt spid="2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1" dur="500" fill="hold"/>
                                        <p:tgtEl>
                                          <p:spTgt spid="2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2" dur="500" fill="hold"/>
                                        <p:tgtEl>
                                          <p:spTgt spid="2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3" fill="hold">
                            <p:stCondLst>
                              <p:cond delay="11000"/>
                            </p:stCondLst>
                            <p:childTnLst>
                              <p:par>
                                <p:cTn id="17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6" dur="500"/>
                                        <p:tgtEl>
                                          <p:spTgt spid="2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7" fill="hold">
                            <p:stCondLst>
                              <p:cond delay="11500"/>
                            </p:stCondLst>
                            <p:childTnLst>
                              <p:par>
                                <p:cTn id="17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0" dur="500" fill="hold"/>
                                        <p:tgtEl>
                                          <p:spTgt spid="2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1" dur="500" fill="hold"/>
                                        <p:tgtEl>
                                          <p:spTgt spid="2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2" dur="500"/>
                                        <p:tgtEl>
                                          <p:spTgt spid="2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5" dur="500"/>
                                        <p:tgtEl>
                                          <p:spTgt spid="2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6" dur="500" fill="hold"/>
                                        <p:tgtEl>
                                          <p:spTgt spid="2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7" dur="500" fill="hold"/>
                                        <p:tgtEl>
                                          <p:spTgt spid="2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8" fill="hold">
                            <p:stCondLst>
                              <p:cond delay="12000"/>
                            </p:stCondLst>
                            <p:childTnLst>
                              <p:par>
                                <p:cTn id="18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1" dur="500"/>
                                        <p:tgtEl>
                                          <p:spTgt spid="2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2" fill="hold">
                            <p:stCondLst>
                              <p:cond delay="12500"/>
                            </p:stCondLst>
                            <p:childTnLst>
                              <p:par>
                                <p:cTn id="19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5" dur="500" fill="hold"/>
                                        <p:tgtEl>
                                          <p:spTgt spid="2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6" dur="500" fill="hold"/>
                                        <p:tgtEl>
                                          <p:spTgt spid="2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7" dur="500"/>
                                        <p:tgtEl>
                                          <p:spTgt spid="2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8" fill="hold">
                            <p:stCondLst>
                              <p:cond delay="13000"/>
                            </p:stCondLst>
                            <p:childTnLst>
                              <p:par>
                                <p:cTn id="19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1" dur="500"/>
                                        <p:tgtEl>
                                          <p:spTgt spid="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2" fill="hold">
                            <p:stCondLst>
                              <p:cond delay="13500"/>
                            </p:stCondLst>
                            <p:childTnLst>
                              <p:par>
                                <p:cTn id="20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5" dur="500"/>
                                        <p:tgtEl>
                                          <p:spTgt spid="2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6" fill="hold">
                            <p:stCondLst>
                              <p:cond delay="14000"/>
                            </p:stCondLst>
                            <p:childTnLst>
                              <p:par>
                                <p:cTn id="20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9" dur="500"/>
                                        <p:tgtEl>
                                          <p:spTgt spid="2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5" grpId="0" animBg="1"/>
      <p:bldP spid="176" grpId="0" animBg="1"/>
      <p:bldP spid="185" grpId="0" animBg="1"/>
      <p:bldP spid="186" grpId="0" animBg="1"/>
      <p:bldP spid="187" grpId="0" animBg="1"/>
      <p:bldP spid="189" grpId="0" animBg="1"/>
      <p:bldP spid="190" grpId="0"/>
      <p:bldP spid="209" grpId="0" animBg="1"/>
      <p:bldP spid="210" grpId="0" animBg="1"/>
      <p:bldP spid="211" grpId="0" animBg="1"/>
      <p:bldP spid="213" grpId="0" animBg="1"/>
      <p:bldP spid="214" grpId="0"/>
      <p:bldP spid="215" grpId="0"/>
      <p:bldP spid="217" grpId="0" animBg="1"/>
      <p:bldP spid="219" grpId="0" animBg="1"/>
      <p:bldP spid="220" grpId="0" animBg="1"/>
      <p:bldP spid="221" grpId="0"/>
      <p:bldP spid="223" grpId="0"/>
      <p:bldP spid="224" grpId="0" animBg="1"/>
      <p:bldP spid="225" grpId="0" animBg="1"/>
      <p:bldP spid="230" grpId="0"/>
      <p:bldP spid="231" grpId="0" animBg="1"/>
      <p:bldP spid="237" grpId="0" animBg="1"/>
      <p:bldP spid="238" grpId="0" animBg="1"/>
      <p:bldP spid="239" grpId="0"/>
      <p:bldP spid="240" grpId="0"/>
      <p:bldP spid="242" grpId="0"/>
      <p:bldP spid="243" grpId="0" animBg="1"/>
      <p:bldP spid="246" grpId="0"/>
      <p:bldP spid="24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033885" y="346455"/>
            <a:ext cx="11038779" cy="4078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kk-KZ" sz="205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РДЫҢ МҮГЕДЕКТЕР ҰЙЫМДАРЫ </a:t>
            </a:r>
            <a:r>
              <a:rPr lang="kk-KZ" sz="2050" b="1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ІЗІЛІМІНЕ </a:t>
            </a:r>
            <a:r>
              <a:rPr lang="ru-RU" sz="2050" b="1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ОИН РЕЕСТР</a:t>
            </a:r>
            <a:r>
              <a:rPr lang="kk-KZ" sz="2050" b="1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І</a:t>
            </a:r>
            <a:r>
              <a:rPr lang="ru-RU" sz="2050" b="1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r>
              <a:rPr lang="kk-KZ" sz="2050" b="1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kk-KZ" sz="2050" b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ГІЗУ ТӘРТІБІ</a:t>
            </a:r>
          </a:p>
        </p:txBody>
      </p:sp>
      <p:cxnSp>
        <p:nvCxnSpPr>
          <p:cNvPr id="164" name="Straight Connector 53">
            <a:extLst>
              <a:ext uri="{FF2B5EF4-FFF2-40B4-BE49-F238E27FC236}">
                <a16:creationId xmlns:a16="http://schemas.microsoft.com/office/drawing/2014/main" xmlns="" id="{67E87360-F24A-47BA-928F-2F0179FA8620}"/>
              </a:ext>
            </a:extLst>
          </p:cNvPr>
          <p:cNvCxnSpPr>
            <a:stCxn id="187" idx="6"/>
            <a:endCxn id="211" idx="2"/>
          </p:cNvCxnSpPr>
          <p:nvPr/>
        </p:nvCxnSpPr>
        <p:spPr>
          <a:xfrm>
            <a:off x="8350694" y="3693542"/>
            <a:ext cx="2401973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Oval 45">
            <a:extLst>
              <a:ext uri="{FF2B5EF4-FFF2-40B4-BE49-F238E27FC236}">
                <a16:creationId xmlns:a16="http://schemas.microsoft.com/office/drawing/2014/main" xmlns="" id="{86694F26-80D5-467D-94C4-C9C860517F5F}"/>
              </a:ext>
            </a:extLst>
          </p:cNvPr>
          <p:cNvSpPr/>
          <p:nvPr/>
        </p:nvSpPr>
        <p:spPr>
          <a:xfrm>
            <a:off x="7908259" y="3598292"/>
            <a:ext cx="190500" cy="190500"/>
          </a:xfrm>
          <a:prstGeom prst="ellipse">
            <a:avLst/>
          </a:prstGeom>
          <a:solidFill>
            <a:srgbClr val="1C7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6" name="Circle: Hollow 46">
            <a:extLst>
              <a:ext uri="{FF2B5EF4-FFF2-40B4-BE49-F238E27FC236}">
                <a16:creationId xmlns:a16="http://schemas.microsoft.com/office/drawing/2014/main" xmlns="" id="{B0789B4A-0620-4211-9109-6DBE9A07FE51}"/>
              </a:ext>
            </a:extLst>
          </p:cNvPr>
          <p:cNvSpPr/>
          <p:nvPr/>
        </p:nvSpPr>
        <p:spPr>
          <a:xfrm>
            <a:off x="7789196" y="3479229"/>
            <a:ext cx="428626" cy="428626"/>
          </a:xfrm>
          <a:prstGeom prst="donut">
            <a:avLst>
              <a:gd name="adj" fmla="val 5281"/>
            </a:avLst>
          </a:prstGeom>
          <a:solidFill>
            <a:srgbClr val="1C7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7" name="Circle: Hollow 47">
            <a:extLst>
              <a:ext uri="{FF2B5EF4-FFF2-40B4-BE49-F238E27FC236}">
                <a16:creationId xmlns:a16="http://schemas.microsoft.com/office/drawing/2014/main" xmlns="" id="{9C63B36C-028C-4461-9179-02E81EA9B830}"/>
              </a:ext>
            </a:extLst>
          </p:cNvPr>
          <p:cNvSpPr/>
          <p:nvPr/>
        </p:nvSpPr>
        <p:spPr>
          <a:xfrm>
            <a:off x="7656324" y="3346357"/>
            <a:ext cx="694370" cy="694370"/>
          </a:xfrm>
          <a:prstGeom prst="donut">
            <a:avLst>
              <a:gd name="adj" fmla="val 287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88" name="Straight Connector 48">
            <a:extLst>
              <a:ext uri="{FF2B5EF4-FFF2-40B4-BE49-F238E27FC236}">
                <a16:creationId xmlns:a16="http://schemas.microsoft.com/office/drawing/2014/main" xmlns="" id="{15E6C7CE-0DCB-4A82-B08E-519AC3270B85}"/>
              </a:ext>
            </a:extLst>
          </p:cNvPr>
          <p:cNvCxnSpPr>
            <a:cxnSpLocks/>
            <a:stCxn id="187" idx="0"/>
            <a:endCxn id="189" idx="4"/>
          </p:cNvCxnSpPr>
          <p:nvPr/>
        </p:nvCxnSpPr>
        <p:spPr>
          <a:xfrm flipV="1">
            <a:off x="8003509" y="2597360"/>
            <a:ext cx="0" cy="748997"/>
          </a:xfrm>
          <a:prstGeom prst="line">
            <a:avLst/>
          </a:prstGeom>
          <a:ln w="19050">
            <a:solidFill>
              <a:srgbClr val="1C7C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Oval 49">
            <a:extLst>
              <a:ext uri="{FF2B5EF4-FFF2-40B4-BE49-F238E27FC236}">
                <a16:creationId xmlns:a16="http://schemas.microsoft.com/office/drawing/2014/main" xmlns="" id="{4CFE38F3-7830-46D8-95EE-69DB62ED465D}"/>
              </a:ext>
            </a:extLst>
          </p:cNvPr>
          <p:cNvSpPr/>
          <p:nvPr/>
        </p:nvSpPr>
        <p:spPr>
          <a:xfrm>
            <a:off x="7941389" y="2473120"/>
            <a:ext cx="124240" cy="124240"/>
          </a:xfrm>
          <a:prstGeom prst="ellipse">
            <a:avLst/>
          </a:prstGeom>
          <a:solidFill>
            <a:srgbClr val="1C7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xmlns="" id="{65F62DC2-C651-4B22-B4CB-1846861868F6}"/>
              </a:ext>
            </a:extLst>
          </p:cNvPr>
          <p:cNvSpPr txBox="1"/>
          <p:nvPr/>
        </p:nvSpPr>
        <p:spPr>
          <a:xfrm>
            <a:off x="7646173" y="4116222"/>
            <a:ext cx="20169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1C7CB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ӨТІНІМДІ ҚАРАУ ЖӘНЕ ШЕШІМ ҚАБЫЛДАУ</a:t>
            </a:r>
          </a:p>
        </p:txBody>
      </p:sp>
      <p:sp>
        <p:nvSpPr>
          <p:cNvPr id="209" name="Oval 45">
            <a:extLst>
              <a:ext uri="{FF2B5EF4-FFF2-40B4-BE49-F238E27FC236}">
                <a16:creationId xmlns:a16="http://schemas.microsoft.com/office/drawing/2014/main" xmlns="" id="{86694F26-80D5-467D-94C4-C9C860517F5F}"/>
              </a:ext>
            </a:extLst>
          </p:cNvPr>
          <p:cNvSpPr/>
          <p:nvPr/>
        </p:nvSpPr>
        <p:spPr>
          <a:xfrm>
            <a:off x="11004602" y="3598292"/>
            <a:ext cx="190500" cy="190500"/>
          </a:xfrm>
          <a:prstGeom prst="ellipse">
            <a:avLst/>
          </a:prstGeom>
          <a:solidFill>
            <a:srgbClr val="00C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0" name="Circle: Hollow 46">
            <a:extLst>
              <a:ext uri="{FF2B5EF4-FFF2-40B4-BE49-F238E27FC236}">
                <a16:creationId xmlns:a16="http://schemas.microsoft.com/office/drawing/2014/main" xmlns="" id="{B0789B4A-0620-4211-9109-6DBE9A07FE51}"/>
              </a:ext>
            </a:extLst>
          </p:cNvPr>
          <p:cNvSpPr/>
          <p:nvPr/>
        </p:nvSpPr>
        <p:spPr>
          <a:xfrm>
            <a:off x="10885539" y="3479229"/>
            <a:ext cx="428626" cy="428626"/>
          </a:xfrm>
          <a:prstGeom prst="donut">
            <a:avLst>
              <a:gd name="adj" fmla="val 5281"/>
            </a:avLst>
          </a:prstGeom>
          <a:solidFill>
            <a:srgbClr val="00C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1" name="Circle: Hollow 47">
            <a:extLst>
              <a:ext uri="{FF2B5EF4-FFF2-40B4-BE49-F238E27FC236}">
                <a16:creationId xmlns:a16="http://schemas.microsoft.com/office/drawing/2014/main" xmlns="" id="{9C63B36C-028C-4461-9179-02E81EA9B830}"/>
              </a:ext>
            </a:extLst>
          </p:cNvPr>
          <p:cNvSpPr/>
          <p:nvPr/>
        </p:nvSpPr>
        <p:spPr>
          <a:xfrm>
            <a:off x="10752667" y="3346357"/>
            <a:ext cx="694370" cy="694370"/>
          </a:xfrm>
          <a:prstGeom prst="donut">
            <a:avLst>
              <a:gd name="adj" fmla="val 287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12" name="Straight Connector 48">
            <a:extLst>
              <a:ext uri="{FF2B5EF4-FFF2-40B4-BE49-F238E27FC236}">
                <a16:creationId xmlns:a16="http://schemas.microsoft.com/office/drawing/2014/main" xmlns="" id="{15E6C7CE-0DCB-4A82-B08E-519AC3270B85}"/>
              </a:ext>
            </a:extLst>
          </p:cNvPr>
          <p:cNvCxnSpPr>
            <a:cxnSpLocks/>
            <a:stCxn id="211" idx="4"/>
            <a:endCxn id="213" idx="4"/>
          </p:cNvCxnSpPr>
          <p:nvPr/>
        </p:nvCxnSpPr>
        <p:spPr>
          <a:xfrm>
            <a:off x="11099852" y="4040727"/>
            <a:ext cx="0" cy="828433"/>
          </a:xfrm>
          <a:prstGeom prst="line">
            <a:avLst/>
          </a:prstGeom>
          <a:ln w="19050">
            <a:solidFill>
              <a:srgbClr val="00C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Oval 49">
            <a:extLst>
              <a:ext uri="{FF2B5EF4-FFF2-40B4-BE49-F238E27FC236}">
                <a16:creationId xmlns:a16="http://schemas.microsoft.com/office/drawing/2014/main" xmlns="" id="{4CFE38F3-7830-46D8-95EE-69DB62ED465D}"/>
              </a:ext>
            </a:extLst>
          </p:cNvPr>
          <p:cNvSpPr/>
          <p:nvPr/>
        </p:nvSpPr>
        <p:spPr>
          <a:xfrm>
            <a:off x="11037732" y="4744920"/>
            <a:ext cx="124240" cy="124240"/>
          </a:xfrm>
          <a:prstGeom prst="ellipse">
            <a:avLst/>
          </a:prstGeom>
          <a:solidFill>
            <a:srgbClr val="00C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xmlns="" id="{65F62DC2-C651-4B22-B4CB-1846861868F6}"/>
              </a:ext>
            </a:extLst>
          </p:cNvPr>
          <p:cNvSpPr txBox="1"/>
          <p:nvPr/>
        </p:nvSpPr>
        <p:spPr>
          <a:xfrm>
            <a:off x="10127041" y="2646428"/>
            <a:ext cx="19456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CC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ИН РЕЕСТРІНЕ </a:t>
            </a:r>
            <a:r>
              <a:rPr lang="ru-RU" sz="1600" b="1" dirty="0">
                <a:solidFill>
                  <a:srgbClr val="00CC6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ГІЗУ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xmlns="" id="{44337E62-7F21-4CD3-9B0D-507A64DF7728}"/>
              </a:ext>
            </a:extLst>
          </p:cNvPr>
          <p:cNvSpPr txBox="1"/>
          <p:nvPr/>
        </p:nvSpPr>
        <p:spPr>
          <a:xfrm>
            <a:off x="10170218" y="4989339"/>
            <a:ext cx="185926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Clr>
                <a:srgbClr val="00CC66"/>
              </a:buClr>
              <a:buFont typeface="Wingdings" panose="05000000000000000000" pitchFamily="2" charset="2"/>
              <a:buChar char="§"/>
            </a:pPr>
            <a:r>
              <a:rPr lang="ru-RU" sz="14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тификаттың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олданылу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рзіміне</a:t>
            </a:r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әйкес</a:t>
            </a:r>
            <a:endParaRPr lang="ru-RU" sz="1400" dirty="0">
              <a:solidFill>
                <a:schemeClr val="bg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xmlns="" id="{E623F98E-5FFF-4701-A99F-87B202C66033}"/>
              </a:ext>
            </a:extLst>
          </p:cNvPr>
          <p:cNvSpPr txBox="1"/>
          <p:nvPr/>
        </p:nvSpPr>
        <p:spPr>
          <a:xfrm>
            <a:off x="2920252" y="870614"/>
            <a:ext cx="3434410" cy="20467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spcAft>
                <a:spcPts val="600"/>
              </a:spcAft>
              <a:buClr>
                <a:schemeClr val="accent2">
                  <a:lumMod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млекеттік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іркеу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уралы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нықтама</a:t>
            </a:r>
            <a:endParaRPr lang="ru-RU" sz="1400" dirty="0">
              <a:solidFill>
                <a:schemeClr val="bg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7800" indent="-177800">
              <a:spcAft>
                <a:spcPts val="600"/>
              </a:spcAft>
              <a:buClr>
                <a:schemeClr val="accent2">
                  <a:lumMod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С ТРУ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дтары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ен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уарлар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уралы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әліметтер</a:t>
            </a:r>
            <a:endParaRPr lang="ru-RU" sz="1400" dirty="0">
              <a:solidFill>
                <a:schemeClr val="bg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7800" indent="-177800">
              <a:spcAft>
                <a:spcPts val="600"/>
              </a:spcAft>
              <a:buClr>
                <a:schemeClr val="accent2">
                  <a:lumMod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тификаттар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СТ </a:t>
            </a:r>
            <a:r>
              <a:rPr lang="en-US" sz="1200" i="1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Z </a:t>
            </a:r>
            <a:r>
              <a:rPr lang="ru-RU" sz="1200" i="1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месе</a:t>
            </a:r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дустриялық</a:t>
            </a:r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  <a:p>
            <a:pPr marL="177800" indent="-177800">
              <a:spcAft>
                <a:spcPts val="600"/>
              </a:spcAft>
              <a:buClr>
                <a:schemeClr val="accent2">
                  <a:lumMod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үгедек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меткер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саны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месе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лардың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ңбегіне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қы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өлеу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өніндегі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ығыстар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1200" i="1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мінде</a:t>
            </a:r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51%)</a:t>
            </a: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xmlns="" id="{E623F98E-5FFF-4701-A99F-87B202C66033}"/>
              </a:ext>
            </a:extLst>
          </p:cNvPr>
          <p:cNvSpPr txBox="1"/>
          <p:nvPr/>
        </p:nvSpPr>
        <p:spPr>
          <a:xfrm>
            <a:off x="6947343" y="2032230"/>
            <a:ext cx="21015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 algn="ctr">
              <a:buClr>
                <a:srgbClr val="1C7CBB"/>
              </a:buClr>
              <a:buFont typeface="Wingdings" panose="05000000000000000000" pitchFamily="2" charset="2"/>
              <a:buChar char="§"/>
            </a:pPr>
            <a:r>
              <a:rPr lang="kk-KZ" sz="1400" dirty="0" smtClean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 жұмыс күні ішінде</a:t>
            </a:r>
            <a:endParaRPr lang="ru-RU" sz="1400" dirty="0">
              <a:solidFill>
                <a:schemeClr val="bg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xmlns="" id="{E623F98E-5FFF-4701-A99F-87B202C66033}"/>
              </a:ext>
            </a:extLst>
          </p:cNvPr>
          <p:cNvSpPr txBox="1"/>
          <p:nvPr/>
        </p:nvSpPr>
        <p:spPr>
          <a:xfrm>
            <a:off x="2920251" y="3193405"/>
            <a:ext cx="3434411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spcAft>
                <a:spcPts val="600"/>
              </a:spcAft>
              <a:buClr>
                <a:schemeClr val="accent2">
                  <a:lumMod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С ТРУ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дтары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ен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уарлар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уралы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әліметтер</a:t>
            </a:r>
            <a:endParaRPr lang="ru-RU" sz="1400" dirty="0">
              <a:solidFill>
                <a:schemeClr val="bg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7800" indent="-177800">
              <a:spcAft>
                <a:spcPts val="600"/>
              </a:spcAft>
              <a:buClr>
                <a:schemeClr val="accent2">
                  <a:lumMod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тификаттар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СТ KZ </a:t>
            </a:r>
            <a:r>
              <a:rPr lang="ru-RU" sz="1200" i="1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месе</a:t>
            </a:r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дустриялық</a:t>
            </a:r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</p:txBody>
      </p:sp>
      <p:cxnSp>
        <p:nvCxnSpPr>
          <p:cNvPr id="248" name="Straight Connector 53">
            <a:extLst>
              <a:ext uri="{FF2B5EF4-FFF2-40B4-BE49-F238E27FC236}">
                <a16:creationId xmlns:a16="http://schemas.microsoft.com/office/drawing/2014/main" xmlns="" id="{67E87360-F24A-47BA-928F-2F0179FA8620}"/>
              </a:ext>
            </a:extLst>
          </p:cNvPr>
          <p:cNvCxnSpPr>
            <a:endCxn id="187" idx="2"/>
          </p:cNvCxnSpPr>
          <p:nvPr/>
        </p:nvCxnSpPr>
        <p:spPr>
          <a:xfrm>
            <a:off x="6354662" y="3690701"/>
            <a:ext cx="1301662" cy="2841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Connector 53">
            <a:extLst>
              <a:ext uri="{FF2B5EF4-FFF2-40B4-BE49-F238E27FC236}">
                <a16:creationId xmlns:a16="http://schemas.microsoft.com/office/drawing/2014/main" xmlns="" id="{67E87360-F24A-47BA-928F-2F0179FA8620}"/>
              </a:ext>
            </a:extLst>
          </p:cNvPr>
          <p:cNvCxnSpPr>
            <a:stCxn id="223" idx="3"/>
            <a:endCxn id="187" idx="1"/>
          </p:cNvCxnSpPr>
          <p:nvPr/>
        </p:nvCxnSpPr>
        <p:spPr>
          <a:xfrm>
            <a:off x="6354662" y="1893971"/>
            <a:ext cx="1403350" cy="1554074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Connector 53">
            <a:extLst>
              <a:ext uri="{FF2B5EF4-FFF2-40B4-BE49-F238E27FC236}">
                <a16:creationId xmlns:a16="http://schemas.microsoft.com/office/drawing/2014/main" xmlns="" id="{67E87360-F24A-47BA-928F-2F0179FA8620}"/>
              </a:ext>
            </a:extLst>
          </p:cNvPr>
          <p:cNvCxnSpPr>
            <a:stCxn id="44" idx="3"/>
            <a:endCxn id="187" idx="3"/>
          </p:cNvCxnSpPr>
          <p:nvPr/>
        </p:nvCxnSpPr>
        <p:spPr>
          <a:xfrm flipV="1">
            <a:off x="6354662" y="3939039"/>
            <a:ext cx="1403350" cy="1726844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E623F98E-5FFF-4701-A99F-87B202C66033}"/>
              </a:ext>
            </a:extLst>
          </p:cNvPr>
          <p:cNvSpPr txBox="1"/>
          <p:nvPr/>
        </p:nvSpPr>
        <p:spPr>
          <a:xfrm>
            <a:off x="2920252" y="4642526"/>
            <a:ext cx="3434410" cy="20467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spcAft>
                <a:spcPts val="600"/>
              </a:spcAft>
              <a:buClr>
                <a:schemeClr val="accent2">
                  <a:lumMod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млекеттік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іркеу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уралы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нықтама</a:t>
            </a:r>
            <a:endParaRPr lang="ru-RU" sz="1400" dirty="0">
              <a:solidFill>
                <a:schemeClr val="bg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7800" indent="-177800">
              <a:spcAft>
                <a:spcPts val="600"/>
              </a:spcAft>
              <a:buClr>
                <a:schemeClr val="accent2">
                  <a:lumMod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НС ТРУ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дтары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ен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уарлар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уралы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әліметтер</a:t>
            </a:r>
            <a:endParaRPr lang="ru-RU" sz="1400" dirty="0">
              <a:solidFill>
                <a:schemeClr val="bg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7800" indent="-177800">
              <a:spcAft>
                <a:spcPts val="600"/>
              </a:spcAft>
              <a:buClr>
                <a:schemeClr val="accent2">
                  <a:lumMod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тификаттар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СТ </a:t>
            </a:r>
            <a:r>
              <a:rPr lang="en-US" sz="1200" i="1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Z </a:t>
            </a:r>
            <a:r>
              <a:rPr lang="ru-RU" sz="1200" i="1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месе</a:t>
            </a:r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дустриялық</a:t>
            </a:r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  <a:p>
            <a:pPr marL="177800" indent="-177800">
              <a:spcAft>
                <a:spcPts val="600"/>
              </a:spcAft>
              <a:buClr>
                <a:schemeClr val="accent2">
                  <a:lumMod val="25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үгедек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қызметкер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саны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месе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лардың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ңбегіне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қы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өлеу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өніндегі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ығыстар</a:t>
            </a:r>
            <a:r>
              <a:rPr lang="ru-RU" sz="1400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1200" i="1" dirty="0" err="1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емінде</a:t>
            </a:r>
            <a:r>
              <a:rPr lang="ru-RU" sz="1200" i="1" dirty="0">
                <a:solidFill>
                  <a:schemeClr val="bg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51%)</a:t>
            </a:r>
          </a:p>
        </p:txBody>
      </p:sp>
      <p:cxnSp>
        <p:nvCxnSpPr>
          <p:cNvPr id="68" name="Straight Connector 22">
            <a:extLst>
              <a:ext uri="{FF2B5EF4-FFF2-40B4-BE49-F238E27FC236}">
                <a16:creationId xmlns:a16="http://schemas.microsoft.com/office/drawing/2014/main" xmlns="" id="{7982AF7D-7FF0-494C-891D-C601C69FAD64}"/>
              </a:ext>
            </a:extLst>
          </p:cNvPr>
          <p:cNvCxnSpPr>
            <a:cxnSpLocks/>
            <a:stCxn id="78" idx="6"/>
            <a:endCxn id="75" idx="2"/>
          </p:cNvCxnSpPr>
          <p:nvPr/>
        </p:nvCxnSpPr>
        <p:spPr>
          <a:xfrm flipV="1">
            <a:off x="2508961" y="1893971"/>
            <a:ext cx="274702" cy="625"/>
          </a:xfrm>
          <a:prstGeom prst="line">
            <a:avLst/>
          </a:prstGeom>
          <a:ln w="19050">
            <a:solidFill>
              <a:schemeClr val="accent2">
                <a:lumMod val="2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Oval 19">
            <a:extLst>
              <a:ext uri="{FF2B5EF4-FFF2-40B4-BE49-F238E27FC236}">
                <a16:creationId xmlns:a16="http://schemas.microsoft.com/office/drawing/2014/main" xmlns="" id="{037A3CB3-AA60-41C6-B92B-B84EC0A87E61}"/>
              </a:ext>
            </a:extLst>
          </p:cNvPr>
          <p:cNvSpPr/>
          <p:nvPr/>
        </p:nvSpPr>
        <p:spPr>
          <a:xfrm>
            <a:off x="2070570" y="3598292"/>
            <a:ext cx="190500" cy="190500"/>
          </a:xfrm>
          <a:prstGeom prst="ellipse">
            <a:avLst/>
          </a:prstGeom>
          <a:solidFill>
            <a:schemeClr val="accent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0" name="Circle: Hollow 20">
            <a:extLst>
              <a:ext uri="{FF2B5EF4-FFF2-40B4-BE49-F238E27FC236}">
                <a16:creationId xmlns:a16="http://schemas.microsoft.com/office/drawing/2014/main" xmlns="" id="{5AB77009-91CD-4089-A339-205E1FD860BA}"/>
              </a:ext>
            </a:extLst>
          </p:cNvPr>
          <p:cNvSpPr/>
          <p:nvPr/>
        </p:nvSpPr>
        <p:spPr>
          <a:xfrm>
            <a:off x="1951507" y="3479229"/>
            <a:ext cx="428626" cy="428626"/>
          </a:xfrm>
          <a:prstGeom prst="donut">
            <a:avLst>
              <a:gd name="adj" fmla="val 5281"/>
            </a:avLst>
          </a:prstGeom>
          <a:solidFill>
            <a:schemeClr val="accent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1" name="Circle: Hollow 20">
            <a:extLst>
              <a:ext uri="{FF2B5EF4-FFF2-40B4-BE49-F238E27FC236}">
                <a16:creationId xmlns:a16="http://schemas.microsoft.com/office/drawing/2014/main" xmlns="" id="{5AB77009-91CD-4089-A339-205E1FD860BA}"/>
              </a:ext>
            </a:extLst>
          </p:cNvPr>
          <p:cNvSpPr/>
          <p:nvPr/>
        </p:nvSpPr>
        <p:spPr>
          <a:xfrm>
            <a:off x="1951507" y="1680382"/>
            <a:ext cx="428626" cy="428626"/>
          </a:xfrm>
          <a:prstGeom prst="donut">
            <a:avLst>
              <a:gd name="adj" fmla="val 5281"/>
            </a:avLst>
          </a:prstGeom>
          <a:solidFill>
            <a:schemeClr val="accent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2" name="Circle: Hollow 20">
            <a:extLst>
              <a:ext uri="{FF2B5EF4-FFF2-40B4-BE49-F238E27FC236}">
                <a16:creationId xmlns:a16="http://schemas.microsoft.com/office/drawing/2014/main" xmlns="" id="{5AB77009-91CD-4089-A339-205E1FD860BA}"/>
              </a:ext>
            </a:extLst>
          </p:cNvPr>
          <p:cNvSpPr/>
          <p:nvPr/>
        </p:nvSpPr>
        <p:spPr>
          <a:xfrm>
            <a:off x="1951507" y="5453843"/>
            <a:ext cx="428626" cy="428626"/>
          </a:xfrm>
          <a:prstGeom prst="donut">
            <a:avLst>
              <a:gd name="adj" fmla="val 5281"/>
            </a:avLst>
          </a:prstGeom>
          <a:solidFill>
            <a:schemeClr val="accent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3" name="Oval 19">
            <a:extLst>
              <a:ext uri="{FF2B5EF4-FFF2-40B4-BE49-F238E27FC236}">
                <a16:creationId xmlns:a16="http://schemas.microsoft.com/office/drawing/2014/main" xmlns="" id="{037A3CB3-AA60-41C6-B92B-B84EC0A87E61}"/>
              </a:ext>
            </a:extLst>
          </p:cNvPr>
          <p:cNvSpPr/>
          <p:nvPr/>
        </p:nvSpPr>
        <p:spPr>
          <a:xfrm>
            <a:off x="2070570" y="5572182"/>
            <a:ext cx="190500" cy="190500"/>
          </a:xfrm>
          <a:prstGeom prst="ellipse">
            <a:avLst/>
          </a:prstGeom>
          <a:solidFill>
            <a:schemeClr val="accent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xmlns="" id="{D297ECE7-7E0E-48D0-9C27-6FB0E3DB79DD}"/>
              </a:ext>
            </a:extLst>
          </p:cNvPr>
          <p:cNvSpPr txBox="1"/>
          <p:nvPr/>
        </p:nvSpPr>
        <p:spPr>
          <a:xfrm>
            <a:off x="170226" y="1355362"/>
            <a:ext cx="143409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accent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ЕСТРГЕ ЕНГІЗУГЕ ӨТІНІМ БЕРУ </a:t>
            </a:r>
          </a:p>
        </p:txBody>
      </p:sp>
      <p:sp>
        <p:nvSpPr>
          <p:cNvPr id="75" name="Oval 23">
            <a:extLst>
              <a:ext uri="{FF2B5EF4-FFF2-40B4-BE49-F238E27FC236}">
                <a16:creationId xmlns:a16="http://schemas.microsoft.com/office/drawing/2014/main" xmlns="" id="{D26033AC-E99E-4309-BD9B-47A98BA0DEA7}"/>
              </a:ext>
            </a:extLst>
          </p:cNvPr>
          <p:cNvSpPr/>
          <p:nvPr/>
        </p:nvSpPr>
        <p:spPr>
          <a:xfrm>
            <a:off x="2783663" y="1831851"/>
            <a:ext cx="124240" cy="124240"/>
          </a:xfrm>
          <a:prstGeom prst="ellipse">
            <a:avLst/>
          </a:prstGeom>
          <a:solidFill>
            <a:schemeClr val="accent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6" name="Oval 19">
            <a:extLst>
              <a:ext uri="{FF2B5EF4-FFF2-40B4-BE49-F238E27FC236}">
                <a16:creationId xmlns:a16="http://schemas.microsoft.com/office/drawing/2014/main" xmlns="" id="{037A3CB3-AA60-41C6-B92B-B84EC0A87E61}"/>
              </a:ext>
            </a:extLst>
          </p:cNvPr>
          <p:cNvSpPr/>
          <p:nvPr/>
        </p:nvSpPr>
        <p:spPr>
          <a:xfrm>
            <a:off x="2070570" y="1798721"/>
            <a:ext cx="190500" cy="190500"/>
          </a:xfrm>
          <a:prstGeom prst="ellipse">
            <a:avLst/>
          </a:prstGeom>
          <a:solidFill>
            <a:schemeClr val="accent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7" name="Circle: Hollow 30">
            <a:extLst>
              <a:ext uri="{FF2B5EF4-FFF2-40B4-BE49-F238E27FC236}">
                <a16:creationId xmlns:a16="http://schemas.microsoft.com/office/drawing/2014/main" xmlns="" id="{FB3E2DCF-4068-4715-BD27-13370B541EAC}"/>
              </a:ext>
            </a:extLst>
          </p:cNvPr>
          <p:cNvSpPr/>
          <p:nvPr/>
        </p:nvSpPr>
        <p:spPr>
          <a:xfrm>
            <a:off x="1814591" y="3346357"/>
            <a:ext cx="694370" cy="694370"/>
          </a:xfrm>
          <a:prstGeom prst="donut">
            <a:avLst>
              <a:gd name="adj" fmla="val 287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8" name="Circle: Hollow 30">
            <a:extLst>
              <a:ext uri="{FF2B5EF4-FFF2-40B4-BE49-F238E27FC236}">
                <a16:creationId xmlns:a16="http://schemas.microsoft.com/office/drawing/2014/main" xmlns="" id="{FB3E2DCF-4068-4715-BD27-13370B541EAC}"/>
              </a:ext>
            </a:extLst>
          </p:cNvPr>
          <p:cNvSpPr/>
          <p:nvPr/>
        </p:nvSpPr>
        <p:spPr>
          <a:xfrm>
            <a:off x="1814591" y="1547411"/>
            <a:ext cx="694370" cy="694370"/>
          </a:xfrm>
          <a:prstGeom prst="donut">
            <a:avLst>
              <a:gd name="adj" fmla="val 287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9" name="Circle: Hollow 30">
            <a:extLst>
              <a:ext uri="{FF2B5EF4-FFF2-40B4-BE49-F238E27FC236}">
                <a16:creationId xmlns:a16="http://schemas.microsoft.com/office/drawing/2014/main" xmlns="" id="{FB3E2DCF-4068-4715-BD27-13370B541EAC}"/>
              </a:ext>
            </a:extLst>
          </p:cNvPr>
          <p:cNvSpPr/>
          <p:nvPr/>
        </p:nvSpPr>
        <p:spPr>
          <a:xfrm>
            <a:off x="1814591" y="5318698"/>
            <a:ext cx="694370" cy="694370"/>
          </a:xfrm>
          <a:prstGeom prst="donut">
            <a:avLst>
              <a:gd name="adj" fmla="val 287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xmlns="" id="{D297ECE7-7E0E-48D0-9C27-6FB0E3DB79DD}"/>
              </a:ext>
            </a:extLst>
          </p:cNvPr>
          <p:cNvSpPr txBox="1"/>
          <p:nvPr/>
        </p:nvSpPr>
        <p:spPr>
          <a:xfrm>
            <a:off x="-56851" y="3398313"/>
            <a:ext cx="187144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accent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ОЛЫҚТЫРУҒА ӨТІНІМ БЕРУ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xmlns="" id="{D297ECE7-7E0E-48D0-9C27-6FB0E3DB79DD}"/>
              </a:ext>
            </a:extLst>
          </p:cNvPr>
          <p:cNvSpPr txBox="1"/>
          <p:nvPr/>
        </p:nvSpPr>
        <p:spPr>
          <a:xfrm>
            <a:off x="170226" y="5250383"/>
            <a:ext cx="152530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accent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ҰЗАРТУҒА ӨТІНІМ БЕРУ</a:t>
            </a:r>
          </a:p>
        </p:txBody>
      </p:sp>
      <p:cxnSp>
        <p:nvCxnSpPr>
          <p:cNvPr id="82" name="Straight Connector 22">
            <a:extLst>
              <a:ext uri="{FF2B5EF4-FFF2-40B4-BE49-F238E27FC236}">
                <a16:creationId xmlns:a16="http://schemas.microsoft.com/office/drawing/2014/main" xmlns="" id="{7982AF7D-7FF0-494C-891D-C601C69FAD64}"/>
              </a:ext>
            </a:extLst>
          </p:cNvPr>
          <p:cNvCxnSpPr>
            <a:cxnSpLocks/>
            <a:endCxn id="83" idx="2"/>
          </p:cNvCxnSpPr>
          <p:nvPr/>
        </p:nvCxnSpPr>
        <p:spPr>
          <a:xfrm flipV="1">
            <a:off x="2508961" y="3690701"/>
            <a:ext cx="274702" cy="625"/>
          </a:xfrm>
          <a:prstGeom prst="line">
            <a:avLst/>
          </a:prstGeom>
          <a:ln w="19050">
            <a:solidFill>
              <a:schemeClr val="accent2">
                <a:lumMod val="2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Oval 23">
            <a:extLst>
              <a:ext uri="{FF2B5EF4-FFF2-40B4-BE49-F238E27FC236}">
                <a16:creationId xmlns:a16="http://schemas.microsoft.com/office/drawing/2014/main" xmlns="" id="{D26033AC-E99E-4309-BD9B-47A98BA0DEA7}"/>
              </a:ext>
            </a:extLst>
          </p:cNvPr>
          <p:cNvSpPr/>
          <p:nvPr/>
        </p:nvSpPr>
        <p:spPr>
          <a:xfrm>
            <a:off x="2783663" y="3628581"/>
            <a:ext cx="124240" cy="124240"/>
          </a:xfrm>
          <a:prstGeom prst="ellipse">
            <a:avLst/>
          </a:prstGeom>
          <a:solidFill>
            <a:schemeClr val="accent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84" name="Straight Connector 22">
            <a:extLst>
              <a:ext uri="{FF2B5EF4-FFF2-40B4-BE49-F238E27FC236}">
                <a16:creationId xmlns:a16="http://schemas.microsoft.com/office/drawing/2014/main" xmlns="" id="{7982AF7D-7FF0-494C-891D-C601C69FAD64}"/>
              </a:ext>
            </a:extLst>
          </p:cNvPr>
          <p:cNvCxnSpPr>
            <a:cxnSpLocks/>
            <a:endCxn id="85" idx="2"/>
          </p:cNvCxnSpPr>
          <p:nvPr/>
        </p:nvCxnSpPr>
        <p:spPr>
          <a:xfrm flipV="1">
            <a:off x="2508961" y="5665883"/>
            <a:ext cx="274702" cy="625"/>
          </a:xfrm>
          <a:prstGeom prst="line">
            <a:avLst/>
          </a:prstGeom>
          <a:ln w="19050">
            <a:solidFill>
              <a:schemeClr val="accent2">
                <a:lumMod val="2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Oval 23">
            <a:extLst>
              <a:ext uri="{FF2B5EF4-FFF2-40B4-BE49-F238E27FC236}">
                <a16:creationId xmlns:a16="http://schemas.microsoft.com/office/drawing/2014/main" xmlns="" id="{D26033AC-E99E-4309-BD9B-47A98BA0DEA7}"/>
              </a:ext>
            </a:extLst>
          </p:cNvPr>
          <p:cNvSpPr/>
          <p:nvPr/>
        </p:nvSpPr>
        <p:spPr>
          <a:xfrm>
            <a:off x="2783663" y="5603763"/>
            <a:ext cx="124240" cy="124240"/>
          </a:xfrm>
          <a:prstGeom prst="ellipse">
            <a:avLst/>
          </a:prstGeom>
          <a:solidFill>
            <a:schemeClr val="accent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6" name="Прямоугольник 85"/>
          <p:cNvSpPr/>
          <p:nvPr/>
        </p:nvSpPr>
        <p:spPr>
          <a:xfrm>
            <a:off x="7054206" y="6134168"/>
            <a:ext cx="64312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1B689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7</a:t>
            </a:r>
            <a:endParaRPr lang="ru-RU" sz="2800" dirty="0">
              <a:solidFill>
                <a:srgbClr val="1B6893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7" name="Прямоугольник 86"/>
          <p:cNvSpPr/>
          <p:nvPr/>
        </p:nvSpPr>
        <p:spPr>
          <a:xfrm>
            <a:off x="7789196" y="6133554"/>
            <a:ext cx="133681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kk-KZ" sz="1400" b="1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ҰЙЫМДАР САНЫ</a:t>
            </a:r>
            <a:endParaRPr lang="ru-RU" sz="14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8" name="Прямоугольник 87"/>
          <p:cNvSpPr/>
          <p:nvPr/>
        </p:nvSpPr>
        <p:spPr>
          <a:xfrm>
            <a:off x="9163477" y="6134168"/>
            <a:ext cx="120738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800" b="1" dirty="0" smtClean="0">
                <a:solidFill>
                  <a:srgbClr val="1B689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r>
              <a:rPr lang="kk-KZ" sz="2800" b="1" dirty="0" smtClean="0">
                <a:solidFill>
                  <a:srgbClr val="1B689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695</a:t>
            </a:r>
            <a:endParaRPr lang="ru-RU" sz="2800" dirty="0">
              <a:solidFill>
                <a:srgbClr val="1B6893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9" name="Прямоугольник 88"/>
          <p:cNvSpPr/>
          <p:nvPr/>
        </p:nvSpPr>
        <p:spPr>
          <a:xfrm>
            <a:off x="10488128" y="6133554"/>
            <a:ext cx="145075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kk-KZ" sz="1400" b="1" dirty="0" smtClean="0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ОЗИЦИЯЛАР САНЫ</a:t>
            </a:r>
            <a:endParaRPr lang="ru-RU" sz="1400" b="1" dirty="0">
              <a:solidFill>
                <a:schemeClr val="bg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0" name="Прямоугольник 89"/>
          <p:cNvSpPr/>
          <p:nvPr/>
        </p:nvSpPr>
        <p:spPr>
          <a:xfrm>
            <a:off x="6820883" y="6013068"/>
            <a:ext cx="5213405" cy="728300"/>
          </a:xfrm>
          <a:prstGeom prst="rect">
            <a:avLst/>
          </a:prstGeom>
          <a:noFill/>
          <a:ln w="12700">
            <a:solidFill>
              <a:schemeClr val="bg2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1" name="Прямоугольник 90"/>
          <p:cNvSpPr/>
          <p:nvPr/>
        </p:nvSpPr>
        <p:spPr>
          <a:xfrm>
            <a:off x="8973776" y="5806073"/>
            <a:ext cx="907621" cy="307777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2 ж.</a:t>
            </a:r>
            <a:endParaRPr lang="ru-RU" sz="1400" dirty="0">
              <a:solidFill>
                <a:schemeClr val="bg2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2" name="Шеврон 91"/>
          <p:cNvSpPr/>
          <p:nvPr/>
        </p:nvSpPr>
        <p:spPr>
          <a:xfrm>
            <a:off x="3082080" y="43570"/>
            <a:ext cx="3024000" cy="180000"/>
          </a:xfrm>
          <a:prstGeom prst="chevron">
            <a:avLst>
              <a:gd name="adj" fmla="val 46736"/>
            </a:avLst>
          </a:prstGeom>
          <a:solidFill>
            <a:srgbClr val="17335D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. РЕЕСТРЛЕР (ТПФ/ОИН)</a:t>
            </a:r>
          </a:p>
        </p:txBody>
      </p:sp>
      <p:sp>
        <p:nvSpPr>
          <p:cNvPr id="93" name="Шеврон 92"/>
          <p:cNvSpPr/>
          <p:nvPr/>
        </p:nvSpPr>
        <p:spPr>
          <a:xfrm>
            <a:off x="6090212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. ПКО</a:t>
            </a:r>
          </a:p>
        </p:txBody>
      </p:sp>
      <p:sp>
        <p:nvSpPr>
          <p:cNvPr id="94" name="Шеврон 93"/>
          <p:cNvSpPr/>
          <p:nvPr/>
        </p:nvSpPr>
        <p:spPr>
          <a:xfrm>
            <a:off x="9095936" y="43570"/>
            <a:ext cx="3024000" cy="180000"/>
          </a:xfrm>
          <a:prstGeom prst="chevron">
            <a:avLst>
              <a:gd name="adj" fmla="val 46736"/>
            </a:avLst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. ЕНС ТРУ</a:t>
            </a:r>
          </a:p>
        </p:txBody>
      </p:sp>
      <p:sp>
        <p:nvSpPr>
          <p:cNvPr id="95" name="Пятиугольник 94"/>
          <p:cNvSpPr/>
          <p:nvPr/>
        </p:nvSpPr>
        <p:spPr>
          <a:xfrm>
            <a:off x="76356" y="47575"/>
            <a:ext cx="3024000" cy="180000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kk-KZ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 </a:t>
            </a:r>
            <a:r>
              <a:rPr lang="ru-RU" sz="1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ФТЕЙК-КЕЛІСІМШАРТТАР</a:t>
            </a:r>
            <a:endParaRPr lang="ru-RU" sz="1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02789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8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8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00"/>
                            </p:stCondLst>
                            <p:childTnLst>
                              <p:par>
                                <p:cTn id="3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3000"/>
                            </p:stCondLst>
                            <p:childTnLst>
                              <p:par>
                                <p:cTn id="4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2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20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3500"/>
                            </p:stCondLst>
                            <p:childTnLst>
                              <p:par>
                                <p:cTn id="4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2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2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000"/>
                            </p:stCondLst>
                            <p:childTnLst>
                              <p:par>
                                <p:cTn id="5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2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2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4500"/>
                            </p:stCondLst>
                            <p:childTnLst>
                              <p:par>
                                <p:cTn id="6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2" dur="500"/>
                                        <p:tgtEl>
                                          <p:spTgt spid="2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000"/>
                            </p:stCondLst>
                            <p:childTnLst>
                              <p:par>
                                <p:cTn id="6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2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2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2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2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2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2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2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2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2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2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2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2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2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5500"/>
                            </p:stCondLst>
                            <p:childTnLst>
                              <p:par>
                                <p:cTn id="9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7" dur="500"/>
                                        <p:tgtEl>
                                          <p:spTgt spid="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6000"/>
                            </p:stCondLst>
                            <p:childTnLst>
                              <p:par>
                                <p:cTn id="9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1" dur="500"/>
                                        <p:tgtEl>
                                          <p:spTgt spid="2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6500"/>
                            </p:stCondLst>
                            <p:childTnLst>
                              <p:par>
                                <p:cTn id="10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5" dur="500"/>
                                        <p:tgtEl>
                                          <p:spTgt spid="2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1" fill="hold">
                            <p:stCondLst>
                              <p:cond delay="7000"/>
                            </p:stCondLst>
                            <p:childTnLst>
                              <p:par>
                                <p:cTn id="11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4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7" fill="hold">
                            <p:stCondLst>
                              <p:cond delay="7500"/>
                            </p:stCondLst>
                            <p:childTnLst>
                              <p:par>
                                <p:cTn id="11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3" fill="hold">
                            <p:stCondLst>
                              <p:cond delay="8000"/>
                            </p:stCondLst>
                            <p:childTnLst>
                              <p:par>
                                <p:cTn id="12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6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7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8500"/>
                            </p:stCondLst>
                            <p:childTnLst>
                              <p:par>
                                <p:cTn id="13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2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3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5" fill="hold">
                            <p:stCondLst>
                              <p:cond delay="9000"/>
                            </p:stCondLst>
                            <p:childTnLst>
                              <p:par>
                                <p:cTn id="13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8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0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4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5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6" fill="hold">
                            <p:stCondLst>
                              <p:cond delay="9500"/>
                            </p:stCondLst>
                            <p:childTnLst>
                              <p:par>
                                <p:cTn id="14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9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0" fill="hold">
                            <p:stCondLst>
                              <p:cond delay="10000"/>
                            </p:stCondLst>
                            <p:childTnLst>
                              <p:par>
                                <p:cTn id="15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3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4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5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6" fill="hold">
                            <p:stCondLst>
                              <p:cond delay="10500"/>
                            </p:stCondLst>
                            <p:childTnLst>
                              <p:par>
                                <p:cTn id="15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9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0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1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2" fill="hold">
                            <p:stCondLst>
                              <p:cond delay="11000"/>
                            </p:stCondLst>
                            <p:childTnLst>
                              <p:par>
                                <p:cTn id="16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5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6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8" fill="hold">
                            <p:stCondLst>
                              <p:cond delay="11500"/>
                            </p:stCondLst>
                            <p:childTnLst>
                              <p:par>
                                <p:cTn id="16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1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2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3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4" fill="hold">
                            <p:stCondLst>
                              <p:cond delay="12000"/>
                            </p:stCondLst>
                            <p:childTnLst>
                              <p:par>
                                <p:cTn id="17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7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8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9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2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3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4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7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8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9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0" fill="hold">
                            <p:stCondLst>
                              <p:cond delay="12500"/>
                            </p:stCondLst>
                            <p:childTnLst>
                              <p:par>
                                <p:cTn id="19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3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4" fill="hold">
                            <p:stCondLst>
                              <p:cond delay="13000"/>
                            </p:stCondLst>
                            <p:childTnLst>
                              <p:par>
                                <p:cTn id="19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7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8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9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0" fill="hold">
                            <p:stCondLst>
                              <p:cond delay="13500"/>
                            </p:stCondLst>
                            <p:childTnLst>
                              <p:par>
                                <p:cTn id="20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3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4" fill="hold">
                            <p:stCondLst>
                              <p:cond delay="14000"/>
                            </p:stCondLst>
                            <p:childTnLst>
                              <p:par>
                                <p:cTn id="20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7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8" dur="5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9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5" grpId="0" animBg="1"/>
      <p:bldP spid="186" grpId="0" animBg="1"/>
      <p:bldP spid="187" grpId="0" animBg="1"/>
      <p:bldP spid="189" grpId="0" animBg="1"/>
      <p:bldP spid="190" grpId="0"/>
      <p:bldP spid="209" grpId="0" animBg="1"/>
      <p:bldP spid="210" grpId="0" animBg="1"/>
      <p:bldP spid="211" grpId="0" animBg="1"/>
      <p:bldP spid="213" grpId="0" animBg="1"/>
      <p:bldP spid="214" grpId="0"/>
      <p:bldP spid="215" grpId="0"/>
      <p:bldP spid="223" grpId="0"/>
      <p:bldP spid="230" grpId="0"/>
      <p:bldP spid="242" grpId="0"/>
      <p:bldP spid="44" grpId="0"/>
      <p:bldP spid="69" grpId="0" animBg="1"/>
      <p:bldP spid="70" grpId="0" animBg="1"/>
      <p:bldP spid="71" grpId="0" animBg="1"/>
      <p:bldP spid="72" grpId="0" animBg="1"/>
      <p:bldP spid="73" grpId="0" animBg="1"/>
      <p:bldP spid="74" grpId="0"/>
      <p:bldP spid="75" grpId="0" animBg="1"/>
      <p:bldP spid="76" grpId="0" animBg="1"/>
      <p:bldP spid="77" grpId="0" animBg="1"/>
      <p:bldP spid="78" grpId="0" animBg="1"/>
      <p:bldP spid="79" grpId="0" animBg="1"/>
      <p:bldP spid="80" grpId="0"/>
      <p:bldP spid="81" grpId="0"/>
      <p:bldP spid="83" grpId="0" animBg="1"/>
      <p:bldP spid="8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MXpebpoE4JLLptgybSsA"/>
</p:tagLst>
</file>

<file path=ppt/theme/theme1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blank">
  <a:themeElements>
    <a:clrScheme name="Samruk-Kazyna">
      <a:dk1>
        <a:sysClr val="windowText" lastClr="000000"/>
      </a:dk1>
      <a:lt1>
        <a:sysClr val="window" lastClr="FFFFFF"/>
      </a:lt1>
      <a:dk2>
        <a:srgbClr val="002673"/>
      </a:dk2>
      <a:lt2>
        <a:srgbClr val="808080"/>
      </a:lt2>
      <a:accent1>
        <a:srgbClr val="E2E2E2"/>
      </a:accent1>
      <a:accent2>
        <a:srgbClr val="CCE3F2"/>
      </a:accent2>
      <a:accent3>
        <a:srgbClr val="DC8700"/>
      </a:accent3>
      <a:accent4>
        <a:srgbClr val="E94244"/>
      </a:accent4>
      <a:accent5>
        <a:srgbClr val="FFDA07"/>
      </a:accent5>
      <a:accent6>
        <a:srgbClr val="049536"/>
      </a:accent6>
      <a:hlink>
        <a:srgbClr val="9E8665"/>
      </a:hlink>
      <a:folHlink>
        <a:srgbClr val="BBAD8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bg2"/>
          </a:solidFill>
        </a:ln>
        <a:effectLst/>
      </a:spPr>
      <a:bodyPr tIns="90000" bIns="90000" rtlCol="0" anchor="ctr" anchorCtr="0"/>
      <a:lstStyle>
        <a:defPPr algn="ctr">
          <a:defRPr sz="1200" dirty="0" smtClean="0">
            <a:solidFill>
              <a:srgbClr val="000000"/>
            </a:solidFill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200" dirty="0" smtClean="0">
            <a:solidFill>
              <a:srgbClr val="000000"/>
            </a:solidFill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1A4E8F4F-BA81-4C96-AA70-3F92DE368138}" vid="{C9DBA61E-AE0E-409C-8C47-C9AA2DA8D57D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0379</TotalTime>
  <Words>2584</Words>
  <Application>Microsoft Office PowerPoint</Application>
  <PresentationFormat>Широкоэкранный</PresentationFormat>
  <Paragraphs>731</Paragraphs>
  <Slides>21</Slides>
  <Notes>1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1</vt:i4>
      </vt:variant>
    </vt:vector>
  </HeadingPairs>
  <TitlesOfParts>
    <vt:vector size="35" baseType="lpstr">
      <vt:lpstr>微软雅黑</vt:lpstr>
      <vt:lpstr>Arial</vt:lpstr>
      <vt:lpstr>Calibri</vt:lpstr>
      <vt:lpstr>Calibri Light</vt:lpstr>
      <vt:lpstr>PT Sans</vt:lpstr>
      <vt:lpstr>黑体</vt:lpstr>
      <vt:lpstr>Tahoma</vt:lpstr>
      <vt:lpstr>Trebuchet MS</vt:lpstr>
      <vt:lpstr>Verdana</vt:lpstr>
      <vt:lpstr>Wingdings</vt:lpstr>
      <vt:lpstr>2_Тема Office</vt:lpstr>
      <vt:lpstr>1_blank</vt:lpstr>
      <vt:lpstr>Слайд think-cell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бсадыков Айкожа</dc:creator>
  <cp:lastModifiedBy>Yermakhanbetkyzy Dina (SKC)</cp:lastModifiedBy>
  <cp:revision>982</cp:revision>
  <cp:lastPrinted>2021-08-19T08:47:53Z</cp:lastPrinted>
  <dcterms:created xsi:type="dcterms:W3CDTF">2015-02-10T10:03:18Z</dcterms:created>
  <dcterms:modified xsi:type="dcterms:W3CDTF">2023-02-01T11:27:53Z</dcterms:modified>
</cp:coreProperties>
</file>